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72" r:id="rId2"/>
  </p:sldMasterIdLst>
  <p:notesMasterIdLst>
    <p:notesMasterId r:id="rId61"/>
  </p:notesMasterIdLst>
  <p:sldIdLst>
    <p:sldId id="256" r:id="rId3"/>
    <p:sldId id="276" r:id="rId4"/>
    <p:sldId id="928" r:id="rId5"/>
    <p:sldId id="973" r:id="rId6"/>
    <p:sldId id="929" r:id="rId7"/>
    <p:sldId id="930" r:id="rId8"/>
    <p:sldId id="931" r:id="rId9"/>
    <p:sldId id="932" r:id="rId10"/>
    <p:sldId id="751" r:id="rId11"/>
    <p:sldId id="906" r:id="rId12"/>
    <p:sldId id="867" r:id="rId13"/>
    <p:sldId id="933" r:id="rId14"/>
    <p:sldId id="934" r:id="rId15"/>
    <p:sldId id="935" r:id="rId16"/>
    <p:sldId id="936" r:id="rId17"/>
    <p:sldId id="937" r:id="rId18"/>
    <p:sldId id="938" r:id="rId19"/>
    <p:sldId id="939" r:id="rId20"/>
    <p:sldId id="941" r:id="rId21"/>
    <p:sldId id="940" r:id="rId22"/>
    <p:sldId id="942" r:id="rId23"/>
    <p:sldId id="944" r:id="rId24"/>
    <p:sldId id="945" r:id="rId25"/>
    <p:sldId id="946" r:id="rId26"/>
    <p:sldId id="952" r:id="rId27"/>
    <p:sldId id="948" r:id="rId28"/>
    <p:sldId id="949" r:id="rId29"/>
    <p:sldId id="950" r:id="rId30"/>
    <p:sldId id="903" r:id="rId31"/>
    <p:sldId id="974" r:id="rId32"/>
    <p:sldId id="955" r:id="rId33"/>
    <p:sldId id="957" r:id="rId34"/>
    <p:sldId id="958" r:id="rId35"/>
    <p:sldId id="947" r:id="rId36"/>
    <p:sldId id="953" r:id="rId37"/>
    <p:sldId id="956" r:id="rId38"/>
    <p:sldId id="954" r:id="rId39"/>
    <p:sldId id="959" r:id="rId40"/>
    <p:sldId id="960" r:id="rId41"/>
    <p:sldId id="961" r:id="rId42"/>
    <p:sldId id="962" r:id="rId43"/>
    <p:sldId id="963" r:id="rId44"/>
    <p:sldId id="964" r:id="rId45"/>
    <p:sldId id="965" r:id="rId46"/>
    <p:sldId id="966" r:id="rId47"/>
    <p:sldId id="967" r:id="rId48"/>
    <p:sldId id="968" r:id="rId49"/>
    <p:sldId id="976" r:id="rId50"/>
    <p:sldId id="979" r:id="rId51"/>
    <p:sldId id="978" r:id="rId52"/>
    <p:sldId id="981" r:id="rId53"/>
    <p:sldId id="969" r:id="rId54"/>
    <p:sldId id="971" r:id="rId55"/>
    <p:sldId id="970" r:id="rId56"/>
    <p:sldId id="972" r:id="rId57"/>
    <p:sldId id="904" r:id="rId58"/>
    <p:sldId id="982" r:id="rId59"/>
    <p:sldId id="839" r:id="rId6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gidadmin" initials="c" lastIdx="1" clrIdx="0">
    <p:extLst>
      <p:ext uri="{19B8F6BF-5375-455C-9EA6-DF929625EA0E}">
        <p15:presenceInfo xmlns:p15="http://schemas.microsoft.com/office/powerpoint/2012/main" userId="cegidadmin" providerId="None"/>
      </p:ext>
    </p:extLst>
  </p:cmAuthor>
  <p:cmAuthor id="2" name="christophe CHUECOS-FONT" initials="cCF" lastIdx="2" clrIdx="1">
    <p:extLst>
      <p:ext uri="{19B8F6BF-5375-455C-9EA6-DF929625EA0E}">
        <p15:presenceInfo xmlns:p15="http://schemas.microsoft.com/office/powerpoint/2012/main" userId="christophe CHUECOS-FON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1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96" y="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microsoft.com/office/2016/11/relationships/changesInfo" Target="changesInfos/changesInfo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 CHUECOS-FONT" userId="7e57acaa-4bc6-4644-8edc-0ecdded28594" providerId="ADAL" clId="{9B2A2DD4-C648-4020-9180-587562B66C01}"/>
    <pc:docChg chg="undo custSel addSld modSld">
      <pc:chgData name="christophe CHUECOS-FONT" userId="7e57acaa-4bc6-4644-8edc-0ecdded28594" providerId="ADAL" clId="{9B2A2DD4-C648-4020-9180-587562B66C01}" dt="2021-04-09T13:46:50.268" v="12" actId="680"/>
      <pc:docMkLst>
        <pc:docMk/>
      </pc:docMkLst>
      <pc:sldChg chg="addSp delSp modSp mod">
        <pc:chgData name="christophe CHUECOS-FONT" userId="7e57acaa-4bc6-4644-8edc-0ecdded28594" providerId="ADAL" clId="{9B2A2DD4-C648-4020-9180-587562B66C01}" dt="2021-04-09T13:46:38.371" v="11" actId="26606"/>
        <pc:sldMkLst>
          <pc:docMk/>
          <pc:sldMk cId="2856685236" sldId="904"/>
        </pc:sldMkLst>
        <pc:spChg chg="mo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2" creationId="{02517F6E-26E9-44E8-815E-774552D95FD0}"/>
          </ac:spMkLst>
        </pc:spChg>
        <pc:spChg chg="mo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5" creationId="{DFEA2082-E7DE-4453-8158-54F380B94285}"/>
          </ac:spMkLst>
        </pc:spChg>
        <pc:spChg chg="add del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84" creationId="{23E547B5-89CF-4EC0-96DE-25771AED0799}"/>
          </ac:spMkLst>
        </pc:spChg>
        <pc:spChg chg="add del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86" creationId="{3F0B8CEB-8279-4E5E-A0CE-1FC9F71736F2}"/>
          </ac:spMkLst>
        </pc:spChg>
        <pc:spChg chg="add del">
          <ac:chgData name="christophe CHUECOS-FONT" userId="7e57acaa-4bc6-4644-8edc-0ecdded28594" providerId="ADAL" clId="{9B2A2DD4-C648-4020-9180-587562B66C01}" dt="2021-04-09T13:46:38.371" v="10" actId="26606"/>
          <ac:spMkLst>
            <pc:docMk/>
            <pc:sldMk cId="2856685236" sldId="904"/>
            <ac:spMk id="91" creationId="{F4C0B10B-D2C4-4A54-AFAD-3D27DF88BB37}"/>
          </ac:spMkLst>
        </pc:spChg>
        <pc:spChg chg="ad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99" creationId="{4652D57C-331F-43B8-9C07-69FBA9C0279E}"/>
          </ac:spMkLst>
        </pc:spChg>
        <pc:spChg chg="ad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100" creationId="{AC5782D3-6CED-43A7-BE35-09C48F8091FB}"/>
          </ac:spMkLst>
        </pc:spChg>
        <pc:spChg chg="ad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101" creationId="{6721F593-ECD2-4B5B-AAE4-0866A4CDC970}"/>
          </ac:spMkLst>
        </pc:spChg>
        <pc:spChg chg="ad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102" creationId="{71DEE99F-D18C-4025-BA3F-CEBF5258ED3D}"/>
          </ac:spMkLst>
        </pc:spChg>
        <pc:spChg chg="add">
          <ac:chgData name="christophe CHUECOS-FONT" userId="7e57acaa-4bc6-4644-8edc-0ecdded28594" providerId="ADAL" clId="{9B2A2DD4-C648-4020-9180-587562B66C01}" dt="2021-04-09T13:46:38.371" v="11" actId="26606"/>
          <ac:spMkLst>
            <pc:docMk/>
            <pc:sldMk cId="2856685236" sldId="904"/>
            <ac:spMk id="103" creationId="{976FA5D9-3A7C-4FA7-9BA8-1905D703FD77}"/>
          </ac:spMkLst>
        </pc:spChg>
        <pc:grpChg chg="add del">
          <ac:chgData name="christophe CHUECOS-FONT" userId="7e57acaa-4bc6-4644-8edc-0ecdded28594" providerId="ADAL" clId="{9B2A2DD4-C648-4020-9180-587562B66C01}" dt="2021-04-09T13:46:38.371" v="10" actId="26606"/>
          <ac:grpSpMkLst>
            <pc:docMk/>
            <pc:sldMk cId="2856685236" sldId="904"/>
            <ac:grpSpMk id="93" creationId="{B6BADB90-C74B-40D6-86DC-503F65FCE8DC}"/>
          </ac:grpSpMkLst>
        </pc:grpChg>
        <pc:picChg chg="mod ord">
          <ac:chgData name="christophe CHUECOS-FONT" userId="7e57acaa-4bc6-4644-8edc-0ecdded28594" providerId="ADAL" clId="{9B2A2DD4-C648-4020-9180-587562B66C01}" dt="2021-04-09T13:46:38.371" v="11" actId="26606"/>
          <ac:picMkLst>
            <pc:docMk/>
            <pc:sldMk cId="2856685236" sldId="904"/>
            <ac:picMk id="36" creationId="{FC9EF324-339C-4E46-9508-BF0C86AAC793}"/>
          </ac:picMkLst>
        </pc:picChg>
      </pc:sldChg>
      <pc:sldChg chg="addSp modSp mod setBg">
        <pc:chgData name="christophe CHUECOS-FONT" userId="7e57acaa-4bc6-4644-8edc-0ecdded28594" providerId="ADAL" clId="{9B2A2DD4-C648-4020-9180-587562B66C01}" dt="2021-04-09T13:46:08.261" v="5" actId="27636"/>
        <pc:sldMkLst>
          <pc:docMk/>
          <pc:sldMk cId="1602978590" sldId="970"/>
        </pc:sldMkLst>
        <pc:spChg chg="mod">
          <ac:chgData name="christophe CHUECOS-FONT" userId="7e57acaa-4bc6-4644-8edc-0ecdded28594" providerId="ADAL" clId="{9B2A2DD4-C648-4020-9180-587562B66C01}" dt="2021-04-09T13:45:54.103" v="0" actId="26606"/>
          <ac:spMkLst>
            <pc:docMk/>
            <pc:sldMk cId="1602978590" sldId="970"/>
            <ac:spMk id="2" creationId="{53B7089E-8512-4AD3-AE5A-3C458ED09861}"/>
          </ac:spMkLst>
        </pc:spChg>
        <pc:spChg chg="mod">
          <ac:chgData name="christophe CHUECOS-FONT" userId="7e57acaa-4bc6-4644-8edc-0ecdded28594" providerId="ADAL" clId="{9B2A2DD4-C648-4020-9180-587562B66C01}" dt="2021-04-09T13:46:08.261" v="5" actId="27636"/>
          <ac:spMkLst>
            <pc:docMk/>
            <pc:sldMk cId="1602978590" sldId="970"/>
            <ac:spMk id="3" creationId="{B26CD205-1827-4FC6-A33A-72F9F6006431}"/>
          </ac:spMkLst>
        </pc:spChg>
        <pc:picChg chg="add">
          <ac:chgData name="christophe CHUECOS-FONT" userId="7e57acaa-4bc6-4644-8edc-0ecdded28594" providerId="ADAL" clId="{9B2A2DD4-C648-4020-9180-587562B66C01}" dt="2021-04-09T13:45:54.103" v="0" actId="26606"/>
          <ac:picMkLst>
            <pc:docMk/>
            <pc:sldMk cId="1602978590" sldId="970"/>
            <ac:picMk id="7" creationId="{DBE97E1C-4021-44E9-B192-13F55E4DF1D4}"/>
          </ac:picMkLst>
        </pc:picChg>
      </pc:sldChg>
      <pc:sldChg chg="addSp modSp mod setBg">
        <pc:chgData name="christophe CHUECOS-FONT" userId="7e57acaa-4bc6-4644-8edc-0ecdded28594" providerId="ADAL" clId="{9B2A2DD4-C648-4020-9180-587562B66C01}" dt="2021-04-09T13:46:26.003" v="8" actId="14100"/>
        <pc:sldMkLst>
          <pc:docMk/>
          <pc:sldMk cId="432476417" sldId="972"/>
        </pc:sldMkLst>
        <pc:spChg chg="mod">
          <ac:chgData name="christophe CHUECOS-FONT" userId="7e57acaa-4bc6-4644-8edc-0ecdded28594" providerId="ADAL" clId="{9B2A2DD4-C648-4020-9180-587562B66C01}" dt="2021-04-09T13:46:17.309" v="6" actId="26606"/>
          <ac:spMkLst>
            <pc:docMk/>
            <pc:sldMk cId="432476417" sldId="972"/>
            <ac:spMk id="2" creationId="{932C7AE2-AA15-4850-BBBB-A168A1B6B92E}"/>
          </ac:spMkLst>
        </pc:spChg>
        <pc:spChg chg="add">
          <ac:chgData name="christophe CHUECOS-FONT" userId="7e57acaa-4bc6-4644-8edc-0ecdded28594" providerId="ADAL" clId="{9B2A2DD4-C648-4020-9180-587562B66C01}" dt="2021-04-09T13:46:17.309" v="6" actId="26606"/>
          <ac:spMkLst>
            <pc:docMk/>
            <pc:sldMk cId="432476417" sldId="972"/>
            <ac:spMk id="9" creationId="{A4AC5506-6312-4701-8D3C-40187889A947}"/>
          </ac:spMkLst>
        </pc:spChg>
        <pc:graphicFrameChg chg="add mod modGraphic">
          <ac:chgData name="christophe CHUECOS-FONT" userId="7e57acaa-4bc6-4644-8edc-0ecdded28594" providerId="ADAL" clId="{9B2A2DD4-C648-4020-9180-587562B66C01}" dt="2021-04-09T13:46:26.003" v="8" actId="14100"/>
          <ac:graphicFrameMkLst>
            <pc:docMk/>
            <pc:sldMk cId="432476417" sldId="972"/>
            <ac:graphicFrameMk id="4" creationId="{77AC19AD-F523-4504-8864-039CD8BE6039}"/>
          </ac:graphicFrameMkLst>
        </pc:graphicFrameChg>
      </pc:sldChg>
      <pc:sldChg chg="new">
        <pc:chgData name="christophe CHUECOS-FONT" userId="7e57acaa-4bc6-4644-8edc-0ecdded28594" providerId="ADAL" clId="{9B2A2DD4-C648-4020-9180-587562B66C01}" dt="2021-04-09T13:46:50.268" v="12" actId="680"/>
        <pc:sldMkLst>
          <pc:docMk/>
          <pc:sldMk cId="949744744" sldId="982"/>
        </pc:sldMkLst>
      </pc:sldChg>
    </pc:docChg>
  </pc:docChgLst>
</pc:chgInfo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AF3E0F-1A7E-4EFD-9AB5-3B7F81327F24}" type="doc">
      <dgm:prSet loTypeId="urn:microsoft.com/office/officeart/2005/8/layout/bProcess2" loCatId="process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3D6F0753-C3E2-460B-A3F1-A0895A38D506}">
      <dgm:prSet/>
      <dgm:spPr/>
      <dgm:t>
        <a:bodyPr/>
        <a:lstStyle/>
        <a:p>
          <a:r>
            <a:rPr lang="fr-FR"/>
            <a:t>Un amortissement concerne un bien immobilisé</a:t>
          </a:r>
          <a:endParaRPr lang="en-US"/>
        </a:p>
      </dgm:t>
    </dgm:pt>
    <dgm:pt modelId="{B361A376-975C-4D73-8907-0CE6641941B3}" type="parTrans" cxnId="{6958A379-F030-4564-ABD3-E63A18FADE23}">
      <dgm:prSet/>
      <dgm:spPr/>
      <dgm:t>
        <a:bodyPr/>
        <a:lstStyle/>
        <a:p>
          <a:endParaRPr lang="en-US"/>
        </a:p>
      </dgm:t>
    </dgm:pt>
    <dgm:pt modelId="{9973EAF5-111D-4704-B2D2-36F8989F19C9}" type="sibTrans" cxnId="{6958A379-F030-4564-ABD3-E63A18FADE23}">
      <dgm:prSet/>
      <dgm:spPr/>
      <dgm:t>
        <a:bodyPr/>
        <a:lstStyle/>
        <a:p>
          <a:endParaRPr lang="en-US"/>
        </a:p>
      </dgm:t>
    </dgm:pt>
    <dgm:pt modelId="{39F00817-98DD-4386-ACA5-47309DA785ED}">
      <dgm:prSet/>
      <dgm:spPr/>
      <dgm:t>
        <a:bodyPr/>
        <a:lstStyle/>
        <a:p>
          <a:r>
            <a:rPr lang="fr-FR"/>
            <a:t>Une immobilisation est un élément de l’actif</a:t>
          </a:r>
          <a:endParaRPr lang="en-US"/>
        </a:p>
      </dgm:t>
    </dgm:pt>
    <dgm:pt modelId="{80B3C2DE-4D63-4ECE-975C-F7212507FA2B}" type="parTrans" cxnId="{A81ED7D7-B056-4A6D-A426-AEEA27D5DCDD}">
      <dgm:prSet/>
      <dgm:spPr/>
      <dgm:t>
        <a:bodyPr/>
        <a:lstStyle/>
        <a:p>
          <a:endParaRPr lang="en-US"/>
        </a:p>
      </dgm:t>
    </dgm:pt>
    <dgm:pt modelId="{67316B30-7F5A-410A-9123-F6FCA689EA0B}" type="sibTrans" cxnId="{A81ED7D7-B056-4A6D-A426-AEEA27D5DCDD}">
      <dgm:prSet/>
      <dgm:spPr/>
      <dgm:t>
        <a:bodyPr/>
        <a:lstStyle/>
        <a:p>
          <a:endParaRPr lang="en-US"/>
        </a:p>
      </dgm:t>
    </dgm:pt>
    <dgm:pt modelId="{87E0AD88-FC8E-4C17-9BE9-4582577A05C0}" type="pres">
      <dgm:prSet presAssocID="{A6AF3E0F-1A7E-4EFD-9AB5-3B7F81327F24}" presName="diagram" presStyleCnt="0">
        <dgm:presLayoutVars>
          <dgm:dir/>
          <dgm:resizeHandles/>
        </dgm:presLayoutVars>
      </dgm:prSet>
      <dgm:spPr/>
    </dgm:pt>
    <dgm:pt modelId="{9E02707F-5710-4DD2-95C4-EF9C87667DCE}" type="pres">
      <dgm:prSet presAssocID="{3D6F0753-C3E2-460B-A3F1-A0895A38D506}" presName="firstNode" presStyleLbl="node1" presStyleIdx="0" presStyleCnt="2">
        <dgm:presLayoutVars>
          <dgm:bulletEnabled val="1"/>
        </dgm:presLayoutVars>
      </dgm:prSet>
      <dgm:spPr/>
    </dgm:pt>
    <dgm:pt modelId="{197888EE-A767-4819-9B17-96940B82883F}" type="pres">
      <dgm:prSet presAssocID="{9973EAF5-111D-4704-B2D2-36F8989F19C9}" presName="sibTrans" presStyleLbl="sibTrans2D1" presStyleIdx="0" presStyleCnt="1"/>
      <dgm:spPr/>
    </dgm:pt>
    <dgm:pt modelId="{1A75F175-041E-446B-8079-B8A71E3409F1}" type="pres">
      <dgm:prSet presAssocID="{39F00817-98DD-4386-ACA5-47309DA785ED}" presName="lastNode" presStyleLbl="node1" presStyleIdx="1" presStyleCnt="2">
        <dgm:presLayoutVars>
          <dgm:bulletEnabled val="1"/>
        </dgm:presLayoutVars>
      </dgm:prSet>
      <dgm:spPr/>
    </dgm:pt>
  </dgm:ptLst>
  <dgm:cxnLst>
    <dgm:cxn modelId="{A630841F-9085-4ECF-8C22-806BD7DBED1A}" type="presOf" srcId="{3D6F0753-C3E2-460B-A3F1-A0895A38D506}" destId="{9E02707F-5710-4DD2-95C4-EF9C87667DCE}" srcOrd="0" destOrd="0" presId="urn:microsoft.com/office/officeart/2005/8/layout/bProcess2"/>
    <dgm:cxn modelId="{6958A379-F030-4564-ABD3-E63A18FADE23}" srcId="{A6AF3E0F-1A7E-4EFD-9AB5-3B7F81327F24}" destId="{3D6F0753-C3E2-460B-A3F1-A0895A38D506}" srcOrd="0" destOrd="0" parTransId="{B361A376-975C-4D73-8907-0CE6641941B3}" sibTransId="{9973EAF5-111D-4704-B2D2-36F8989F19C9}"/>
    <dgm:cxn modelId="{EC0E7E8B-C3CB-480C-84A0-0C1D5DBFD9FB}" type="presOf" srcId="{39F00817-98DD-4386-ACA5-47309DA785ED}" destId="{1A75F175-041E-446B-8079-B8A71E3409F1}" srcOrd="0" destOrd="0" presId="urn:microsoft.com/office/officeart/2005/8/layout/bProcess2"/>
    <dgm:cxn modelId="{F716EDC3-91CF-49FF-9E6A-F009F80F9681}" type="presOf" srcId="{9973EAF5-111D-4704-B2D2-36F8989F19C9}" destId="{197888EE-A767-4819-9B17-96940B82883F}" srcOrd="0" destOrd="0" presId="urn:microsoft.com/office/officeart/2005/8/layout/bProcess2"/>
    <dgm:cxn modelId="{A81ED7D7-B056-4A6D-A426-AEEA27D5DCDD}" srcId="{A6AF3E0F-1A7E-4EFD-9AB5-3B7F81327F24}" destId="{39F00817-98DD-4386-ACA5-47309DA785ED}" srcOrd="1" destOrd="0" parTransId="{80B3C2DE-4D63-4ECE-975C-F7212507FA2B}" sibTransId="{67316B30-7F5A-410A-9123-F6FCA689EA0B}"/>
    <dgm:cxn modelId="{2C2321E1-7A73-4C28-B20E-6807B6CA4787}" type="presOf" srcId="{A6AF3E0F-1A7E-4EFD-9AB5-3B7F81327F24}" destId="{87E0AD88-FC8E-4C17-9BE9-4582577A05C0}" srcOrd="0" destOrd="0" presId="urn:microsoft.com/office/officeart/2005/8/layout/bProcess2"/>
    <dgm:cxn modelId="{E65C6E1A-C76F-427C-B05D-FE6E03AAA75E}" type="presParOf" srcId="{87E0AD88-FC8E-4C17-9BE9-4582577A05C0}" destId="{9E02707F-5710-4DD2-95C4-EF9C87667DCE}" srcOrd="0" destOrd="0" presId="urn:microsoft.com/office/officeart/2005/8/layout/bProcess2"/>
    <dgm:cxn modelId="{0E0CD6B5-7C78-4B12-9FD8-DCB4D5723BD7}" type="presParOf" srcId="{87E0AD88-FC8E-4C17-9BE9-4582577A05C0}" destId="{197888EE-A767-4819-9B17-96940B82883F}" srcOrd="1" destOrd="0" presId="urn:microsoft.com/office/officeart/2005/8/layout/bProcess2"/>
    <dgm:cxn modelId="{25823C1A-768D-4CB8-B155-154FBA0FA552}" type="presParOf" srcId="{87E0AD88-FC8E-4C17-9BE9-4582577A05C0}" destId="{1A75F175-041E-446B-8079-B8A71E3409F1}" srcOrd="2" destOrd="0" presId="urn:microsoft.com/office/officeart/2005/8/layout/b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08FF48E-C296-4220-9FAB-E14DAA8B94F6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1AF929BE-8818-4865-8748-8301BCBDFD2E}">
      <dgm:prSet/>
      <dgm:spPr/>
      <dgm:t>
        <a:bodyPr/>
        <a:lstStyle/>
        <a:p>
          <a:r>
            <a:rPr lang="fr-FR"/>
            <a:t>1) On fait un schéma pour connaître exactement le nombre de jours d’amortissement de la première annuité.</a:t>
          </a:r>
          <a:endParaRPr lang="en-US"/>
        </a:p>
      </dgm:t>
    </dgm:pt>
    <dgm:pt modelId="{360203D6-B543-4FF5-B6D1-7C7E2B3F0712}" type="parTrans" cxnId="{BAF04DFF-9B16-43C4-811B-FC71412DBB83}">
      <dgm:prSet/>
      <dgm:spPr/>
      <dgm:t>
        <a:bodyPr/>
        <a:lstStyle/>
        <a:p>
          <a:endParaRPr lang="en-US"/>
        </a:p>
      </dgm:t>
    </dgm:pt>
    <dgm:pt modelId="{3076911C-C98B-4774-B132-9904CB6B27BB}" type="sibTrans" cxnId="{BAF04DFF-9B16-43C4-811B-FC71412DBB83}">
      <dgm:prSet/>
      <dgm:spPr/>
      <dgm:t>
        <a:bodyPr/>
        <a:lstStyle/>
        <a:p>
          <a:endParaRPr lang="en-US"/>
        </a:p>
      </dgm:t>
    </dgm:pt>
    <dgm:pt modelId="{1A8C1AE4-4BED-496E-8769-0CCDC8A7B6A8}">
      <dgm:prSet/>
      <dgm:spPr/>
      <dgm:t>
        <a:bodyPr/>
        <a:lstStyle/>
        <a:p>
          <a:r>
            <a:rPr lang="fr-FR"/>
            <a:t>2) On calcule la 1</a:t>
          </a:r>
          <a:r>
            <a:rPr lang="fr-FR" baseline="30000"/>
            <a:t>ère</a:t>
          </a:r>
          <a:r>
            <a:rPr lang="fr-FR"/>
            <a:t> annuité et la dernière avant d’établir le plan.</a:t>
          </a:r>
          <a:endParaRPr lang="en-US"/>
        </a:p>
      </dgm:t>
    </dgm:pt>
    <dgm:pt modelId="{3C939DA3-134C-400A-AF38-FC9037AF1C55}" type="parTrans" cxnId="{A2DA2E1B-E39A-457B-BF4E-FD2A77EE3A23}">
      <dgm:prSet/>
      <dgm:spPr/>
      <dgm:t>
        <a:bodyPr/>
        <a:lstStyle/>
        <a:p>
          <a:endParaRPr lang="en-US"/>
        </a:p>
      </dgm:t>
    </dgm:pt>
    <dgm:pt modelId="{16E5280D-2DEA-44EF-AAC1-902BA5CA4A6B}" type="sibTrans" cxnId="{A2DA2E1B-E39A-457B-BF4E-FD2A77EE3A23}">
      <dgm:prSet/>
      <dgm:spPr/>
      <dgm:t>
        <a:bodyPr/>
        <a:lstStyle/>
        <a:p>
          <a:endParaRPr lang="en-US"/>
        </a:p>
      </dgm:t>
    </dgm:pt>
    <dgm:pt modelId="{661C5FBC-807A-4AD7-AE46-346375974C8B}">
      <dgm:prSet/>
      <dgm:spPr/>
      <dgm:t>
        <a:bodyPr/>
        <a:lstStyle/>
        <a:p>
          <a:r>
            <a:rPr lang="fr-FR"/>
            <a:t>3) On construit le plan (à vide) en indiquant en premier le nombre d’années nécessaires à l’amortissement complet du bien.</a:t>
          </a:r>
          <a:endParaRPr lang="en-US"/>
        </a:p>
      </dgm:t>
    </dgm:pt>
    <dgm:pt modelId="{7D14F6D5-4E03-4242-B688-1DC64D5CC58A}" type="parTrans" cxnId="{5E14CE9F-9952-41E1-B75A-7E51A738282C}">
      <dgm:prSet/>
      <dgm:spPr/>
      <dgm:t>
        <a:bodyPr/>
        <a:lstStyle/>
        <a:p>
          <a:endParaRPr lang="en-US"/>
        </a:p>
      </dgm:t>
    </dgm:pt>
    <dgm:pt modelId="{897A87F2-8730-4CDA-8849-9745E9A270BF}" type="sibTrans" cxnId="{5E14CE9F-9952-41E1-B75A-7E51A738282C}">
      <dgm:prSet/>
      <dgm:spPr/>
      <dgm:t>
        <a:bodyPr/>
        <a:lstStyle/>
        <a:p>
          <a:endParaRPr lang="en-US"/>
        </a:p>
      </dgm:t>
    </dgm:pt>
    <dgm:pt modelId="{AB23371B-E190-486A-96DA-9BCE18CDAB13}">
      <dgm:prSet/>
      <dgm:spPr/>
      <dgm:t>
        <a:bodyPr/>
        <a:lstStyle/>
        <a:p>
          <a:r>
            <a:rPr lang="fr-FR"/>
            <a:t>4) On remplit le plan d'amortissement</a:t>
          </a:r>
          <a:endParaRPr lang="en-US"/>
        </a:p>
      </dgm:t>
    </dgm:pt>
    <dgm:pt modelId="{F171C1E4-427A-4147-A092-B4E4F83516EC}" type="parTrans" cxnId="{F7A8FBEE-4563-4F09-ACB0-9BBC7BE9582B}">
      <dgm:prSet/>
      <dgm:spPr/>
      <dgm:t>
        <a:bodyPr/>
        <a:lstStyle/>
        <a:p>
          <a:endParaRPr lang="en-US"/>
        </a:p>
      </dgm:t>
    </dgm:pt>
    <dgm:pt modelId="{850E7FC5-3A59-4690-870F-264358D2290D}" type="sibTrans" cxnId="{F7A8FBEE-4563-4F09-ACB0-9BBC7BE9582B}">
      <dgm:prSet/>
      <dgm:spPr/>
      <dgm:t>
        <a:bodyPr/>
        <a:lstStyle/>
        <a:p>
          <a:endParaRPr lang="en-US"/>
        </a:p>
      </dgm:t>
    </dgm:pt>
    <dgm:pt modelId="{D783AFCB-3734-4763-819F-580FD4AE8E5E}" type="pres">
      <dgm:prSet presAssocID="{F08FF48E-C296-4220-9FAB-E14DAA8B94F6}" presName="linear" presStyleCnt="0">
        <dgm:presLayoutVars>
          <dgm:animLvl val="lvl"/>
          <dgm:resizeHandles val="exact"/>
        </dgm:presLayoutVars>
      </dgm:prSet>
      <dgm:spPr/>
    </dgm:pt>
    <dgm:pt modelId="{64B70F94-CADA-4BB6-BDB2-D7C7B7A83180}" type="pres">
      <dgm:prSet presAssocID="{1AF929BE-8818-4865-8748-8301BCBDFD2E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E3CEFA4F-1BB4-40DA-80E5-AB2EF1ADD697}" type="pres">
      <dgm:prSet presAssocID="{3076911C-C98B-4774-B132-9904CB6B27BB}" presName="spacer" presStyleCnt="0"/>
      <dgm:spPr/>
    </dgm:pt>
    <dgm:pt modelId="{64038DFE-7540-4B76-A5F0-6FFA1057E49A}" type="pres">
      <dgm:prSet presAssocID="{1A8C1AE4-4BED-496E-8769-0CCDC8A7B6A8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58C72298-AFF6-48E2-854E-25BA192AFDF2}" type="pres">
      <dgm:prSet presAssocID="{16E5280D-2DEA-44EF-AAC1-902BA5CA4A6B}" presName="spacer" presStyleCnt="0"/>
      <dgm:spPr/>
    </dgm:pt>
    <dgm:pt modelId="{2DEFCB57-C912-4634-AD64-C910F7B1060E}" type="pres">
      <dgm:prSet presAssocID="{661C5FBC-807A-4AD7-AE46-346375974C8B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5E06EAD4-3E46-4B73-B3D4-F1F09D625151}" type="pres">
      <dgm:prSet presAssocID="{897A87F2-8730-4CDA-8849-9745E9A270BF}" presName="spacer" presStyleCnt="0"/>
      <dgm:spPr/>
    </dgm:pt>
    <dgm:pt modelId="{0FFB6C5C-4013-467D-A2DB-05EB4A80AFBD}" type="pres">
      <dgm:prSet presAssocID="{AB23371B-E190-486A-96DA-9BCE18CDAB13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A2DA2E1B-E39A-457B-BF4E-FD2A77EE3A23}" srcId="{F08FF48E-C296-4220-9FAB-E14DAA8B94F6}" destId="{1A8C1AE4-4BED-496E-8769-0CCDC8A7B6A8}" srcOrd="1" destOrd="0" parTransId="{3C939DA3-134C-400A-AF38-FC9037AF1C55}" sibTransId="{16E5280D-2DEA-44EF-AAC1-902BA5CA4A6B}"/>
    <dgm:cxn modelId="{5E14CE9F-9952-41E1-B75A-7E51A738282C}" srcId="{F08FF48E-C296-4220-9FAB-E14DAA8B94F6}" destId="{661C5FBC-807A-4AD7-AE46-346375974C8B}" srcOrd="2" destOrd="0" parTransId="{7D14F6D5-4E03-4242-B688-1DC64D5CC58A}" sibTransId="{897A87F2-8730-4CDA-8849-9745E9A270BF}"/>
    <dgm:cxn modelId="{9C51B5B5-D37D-4E69-8AE7-6E53568136E4}" type="presOf" srcId="{1A8C1AE4-4BED-496E-8769-0CCDC8A7B6A8}" destId="{64038DFE-7540-4B76-A5F0-6FFA1057E49A}" srcOrd="0" destOrd="0" presId="urn:microsoft.com/office/officeart/2005/8/layout/vList2"/>
    <dgm:cxn modelId="{A86458B9-A211-40D9-8C9E-BFFB06618635}" type="presOf" srcId="{AB23371B-E190-486A-96DA-9BCE18CDAB13}" destId="{0FFB6C5C-4013-467D-A2DB-05EB4A80AFBD}" srcOrd="0" destOrd="0" presId="urn:microsoft.com/office/officeart/2005/8/layout/vList2"/>
    <dgm:cxn modelId="{327747E1-02A0-4B67-BE3A-C9C5B20948DC}" type="presOf" srcId="{1AF929BE-8818-4865-8748-8301BCBDFD2E}" destId="{64B70F94-CADA-4BB6-BDB2-D7C7B7A83180}" srcOrd="0" destOrd="0" presId="urn:microsoft.com/office/officeart/2005/8/layout/vList2"/>
    <dgm:cxn modelId="{9ECE55E6-3ECA-471F-BE99-614ADEF28C72}" type="presOf" srcId="{F08FF48E-C296-4220-9FAB-E14DAA8B94F6}" destId="{D783AFCB-3734-4763-819F-580FD4AE8E5E}" srcOrd="0" destOrd="0" presId="urn:microsoft.com/office/officeart/2005/8/layout/vList2"/>
    <dgm:cxn modelId="{DA96C5E9-D064-4025-882A-94B423F07BDD}" type="presOf" srcId="{661C5FBC-807A-4AD7-AE46-346375974C8B}" destId="{2DEFCB57-C912-4634-AD64-C910F7B1060E}" srcOrd="0" destOrd="0" presId="urn:microsoft.com/office/officeart/2005/8/layout/vList2"/>
    <dgm:cxn modelId="{F7A8FBEE-4563-4F09-ACB0-9BBC7BE9582B}" srcId="{F08FF48E-C296-4220-9FAB-E14DAA8B94F6}" destId="{AB23371B-E190-486A-96DA-9BCE18CDAB13}" srcOrd="3" destOrd="0" parTransId="{F171C1E4-427A-4147-A092-B4E4F83516EC}" sibTransId="{850E7FC5-3A59-4690-870F-264358D2290D}"/>
    <dgm:cxn modelId="{BAF04DFF-9B16-43C4-811B-FC71412DBB83}" srcId="{F08FF48E-C296-4220-9FAB-E14DAA8B94F6}" destId="{1AF929BE-8818-4865-8748-8301BCBDFD2E}" srcOrd="0" destOrd="0" parTransId="{360203D6-B543-4FF5-B6D1-7C7E2B3F0712}" sibTransId="{3076911C-C98B-4774-B132-9904CB6B27BB}"/>
    <dgm:cxn modelId="{A9C8D452-7BD6-4C4E-B241-3F91E705CCCF}" type="presParOf" srcId="{D783AFCB-3734-4763-819F-580FD4AE8E5E}" destId="{64B70F94-CADA-4BB6-BDB2-D7C7B7A83180}" srcOrd="0" destOrd="0" presId="urn:microsoft.com/office/officeart/2005/8/layout/vList2"/>
    <dgm:cxn modelId="{4FF4FE30-8569-44BD-B9ED-D1D365CEF4B7}" type="presParOf" srcId="{D783AFCB-3734-4763-819F-580FD4AE8E5E}" destId="{E3CEFA4F-1BB4-40DA-80E5-AB2EF1ADD697}" srcOrd="1" destOrd="0" presId="urn:microsoft.com/office/officeart/2005/8/layout/vList2"/>
    <dgm:cxn modelId="{CF719DBD-6678-41A9-B150-ECBD00B92C83}" type="presParOf" srcId="{D783AFCB-3734-4763-819F-580FD4AE8E5E}" destId="{64038DFE-7540-4B76-A5F0-6FFA1057E49A}" srcOrd="2" destOrd="0" presId="urn:microsoft.com/office/officeart/2005/8/layout/vList2"/>
    <dgm:cxn modelId="{BE082B9E-11B0-48D6-A442-72093E4C1019}" type="presParOf" srcId="{D783AFCB-3734-4763-819F-580FD4AE8E5E}" destId="{58C72298-AFF6-48E2-854E-25BA192AFDF2}" srcOrd="3" destOrd="0" presId="urn:microsoft.com/office/officeart/2005/8/layout/vList2"/>
    <dgm:cxn modelId="{1378076D-0A61-4401-AD6D-00543598F57C}" type="presParOf" srcId="{D783AFCB-3734-4763-819F-580FD4AE8E5E}" destId="{2DEFCB57-C912-4634-AD64-C910F7B1060E}" srcOrd="4" destOrd="0" presId="urn:microsoft.com/office/officeart/2005/8/layout/vList2"/>
    <dgm:cxn modelId="{3DE9FB71-5126-425A-91E3-92265B64CFEF}" type="presParOf" srcId="{D783AFCB-3734-4763-819F-580FD4AE8E5E}" destId="{5E06EAD4-3E46-4B73-B3D4-F1F09D625151}" srcOrd="5" destOrd="0" presId="urn:microsoft.com/office/officeart/2005/8/layout/vList2"/>
    <dgm:cxn modelId="{E074E4D2-48D8-4BF3-B7D0-C368CA6436D4}" type="presParOf" srcId="{D783AFCB-3734-4763-819F-580FD4AE8E5E}" destId="{0FFB6C5C-4013-467D-A2DB-05EB4A80AFBD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3C99D59-6493-41CC-8572-2E1C994B93B7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F99ECE38-8873-4007-97A6-F983118BACB1}">
      <dgm:prSet/>
      <dgm:spPr/>
      <dgm:t>
        <a:bodyPr/>
        <a:lstStyle/>
        <a:p>
          <a:r>
            <a:rPr lang="fr-FR"/>
            <a:t>Immobilisation incorporelle</a:t>
          </a:r>
          <a:endParaRPr lang="en-US"/>
        </a:p>
      </dgm:t>
    </dgm:pt>
    <dgm:pt modelId="{10968196-B082-4E92-B66D-16D3F53510AB}" type="parTrans" cxnId="{1A4FE6DA-4654-4BE4-9351-3C042B720197}">
      <dgm:prSet/>
      <dgm:spPr/>
      <dgm:t>
        <a:bodyPr/>
        <a:lstStyle/>
        <a:p>
          <a:endParaRPr lang="en-US"/>
        </a:p>
      </dgm:t>
    </dgm:pt>
    <dgm:pt modelId="{9576447B-75E8-42BC-AE83-8E0C38B5D940}" type="sibTrans" cxnId="{1A4FE6DA-4654-4BE4-9351-3C042B720197}">
      <dgm:prSet/>
      <dgm:spPr/>
      <dgm:t>
        <a:bodyPr/>
        <a:lstStyle/>
        <a:p>
          <a:endParaRPr lang="en-US"/>
        </a:p>
      </dgm:t>
    </dgm:pt>
    <dgm:pt modelId="{CB1708BE-3422-4433-84D4-24BE3CAF8034}">
      <dgm:prSet/>
      <dgm:spPr/>
      <dgm:t>
        <a:bodyPr/>
        <a:lstStyle/>
        <a:p>
          <a:r>
            <a:rPr lang="fr-FR"/>
            <a:t>Immmobilisation corporelle</a:t>
          </a:r>
          <a:endParaRPr lang="en-US"/>
        </a:p>
      </dgm:t>
    </dgm:pt>
    <dgm:pt modelId="{AC5C980F-F69D-43C5-A296-69DB872834F0}" type="parTrans" cxnId="{E41B961E-F50D-48AB-BB01-828404BDDA11}">
      <dgm:prSet/>
      <dgm:spPr/>
      <dgm:t>
        <a:bodyPr/>
        <a:lstStyle/>
        <a:p>
          <a:endParaRPr lang="en-US"/>
        </a:p>
      </dgm:t>
    </dgm:pt>
    <dgm:pt modelId="{A620D96A-AE1B-4507-A5E3-43F3F8157132}" type="sibTrans" cxnId="{E41B961E-F50D-48AB-BB01-828404BDDA11}">
      <dgm:prSet/>
      <dgm:spPr/>
      <dgm:t>
        <a:bodyPr/>
        <a:lstStyle/>
        <a:p>
          <a:endParaRPr lang="en-US"/>
        </a:p>
      </dgm:t>
    </dgm:pt>
    <dgm:pt modelId="{783C793A-0C23-430F-91C0-D9356E9BF1A3}">
      <dgm:prSet/>
      <dgm:spPr/>
      <dgm:t>
        <a:bodyPr/>
        <a:lstStyle/>
        <a:p>
          <a:r>
            <a:rPr lang="fr-FR"/>
            <a:t>Immobilisation financière</a:t>
          </a:r>
          <a:endParaRPr lang="en-US"/>
        </a:p>
      </dgm:t>
    </dgm:pt>
    <dgm:pt modelId="{DEED47B2-337F-4F7C-BEF2-0A2B369B40D5}" type="parTrans" cxnId="{C06AD7C4-0124-42F8-91B4-E8B128F0DD67}">
      <dgm:prSet/>
      <dgm:spPr/>
      <dgm:t>
        <a:bodyPr/>
        <a:lstStyle/>
        <a:p>
          <a:endParaRPr lang="en-US"/>
        </a:p>
      </dgm:t>
    </dgm:pt>
    <dgm:pt modelId="{4E766B60-08A8-483C-A0A8-CB59EFA799AA}" type="sibTrans" cxnId="{C06AD7C4-0124-42F8-91B4-E8B128F0DD67}">
      <dgm:prSet/>
      <dgm:spPr/>
      <dgm:t>
        <a:bodyPr/>
        <a:lstStyle/>
        <a:p>
          <a:endParaRPr lang="en-US"/>
        </a:p>
      </dgm:t>
    </dgm:pt>
    <dgm:pt modelId="{C64700BE-1EBF-4659-980F-ADAF38859C29}" type="pres">
      <dgm:prSet presAssocID="{23C99D59-6493-41CC-8572-2E1C994B93B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41AA062-DA7C-4FEB-89EC-A2451FB6402E}" type="pres">
      <dgm:prSet presAssocID="{F99ECE38-8873-4007-97A6-F983118BACB1}" presName="hierRoot1" presStyleCnt="0"/>
      <dgm:spPr/>
    </dgm:pt>
    <dgm:pt modelId="{B17F5ACB-E1FF-44BD-9E65-1F9CAA5D091B}" type="pres">
      <dgm:prSet presAssocID="{F99ECE38-8873-4007-97A6-F983118BACB1}" presName="composite" presStyleCnt="0"/>
      <dgm:spPr/>
    </dgm:pt>
    <dgm:pt modelId="{5733EF37-CC23-4F9D-860F-EF108038CB48}" type="pres">
      <dgm:prSet presAssocID="{F99ECE38-8873-4007-97A6-F983118BACB1}" presName="background" presStyleLbl="node0" presStyleIdx="0" presStyleCnt="3"/>
      <dgm:spPr/>
    </dgm:pt>
    <dgm:pt modelId="{C39E48AF-F2D6-4C3D-87FB-36B144F9764D}" type="pres">
      <dgm:prSet presAssocID="{F99ECE38-8873-4007-97A6-F983118BACB1}" presName="text" presStyleLbl="fgAcc0" presStyleIdx="0" presStyleCnt="3">
        <dgm:presLayoutVars>
          <dgm:chPref val="3"/>
        </dgm:presLayoutVars>
      </dgm:prSet>
      <dgm:spPr/>
    </dgm:pt>
    <dgm:pt modelId="{30D42B54-47FD-4A75-9FA0-0298F57C1F0D}" type="pres">
      <dgm:prSet presAssocID="{F99ECE38-8873-4007-97A6-F983118BACB1}" presName="hierChild2" presStyleCnt="0"/>
      <dgm:spPr/>
    </dgm:pt>
    <dgm:pt modelId="{82926640-E59B-4E7C-ACF2-C504863C4E9E}" type="pres">
      <dgm:prSet presAssocID="{CB1708BE-3422-4433-84D4-24BE3CAF8034}" presName="hierRoot1" presStyleCnt="0"/>
      <dgm:spPr/>
    </dgm:pt>
    <dgm:pt modelId="{912240DB-E544-4DE0-8166-01FDE045D5B8}" type="pres">
      <dgm:prSet presAssocID="{CB1708BE-3422-4433-84D4-24BE3CAF8034}" presName="composite" presStyleCnt="0"/>
      <dgm:spPr/>
    </dgm:pt>
    <dgm:pt modelId="{93E80E5F-4C72-40F3-B0B8-16055048E797}" type="pres">
      <dgm:prSet presAssocID="{CB1708BE-3422-4433-84D4-24BE3CAF8034}" presName="background" presStyleLbl="node0" presStyleIdx="1" presStyleCnt="3"/>
      <dgm:spPr/>
    </dgm:pt>
    <dgm:pt modelId="{18310909-462E-4F28-A612-A5843E3F708B}" type="pres">
      <dgm:prSet presAssocID="{CB1708BE-3422-4433-84D4-24BE3CAF8034}" presName="text" presStyleLbl="fgAcc0" presStyleIdx="1" presStyleCnt="3">
        <dgm:presLayoutVars>
          <dgm:chPref val="3"/>
        </dgm:presLayoutVars>
      </dgm:prSet>
      <dgm:spPr/>
    </dgm:pt>
    <dgm:pt modelId="{6CF280F1-7125-47F5-93A5-F78DA8201928}" type="pres">
      <dgm:prSet presAssocID="{CB1708BE-3422-4433-84D4-24BE3CAF8034}" presName="hierChild2" presStyleCnt="0"/>
      <dgm:spPr/>
    </dgm:pt>
    <dgm:pt modelId="{BE66AE87-C3E7-4EB8-990B-A5EF6DD8C1C8}" type="pres">
      <dgm:prSet presAssocID="{783C793A-0C23-430F-91C0-D9356E9BF1A3}" presName="hierRoot1" presStyleCnt="0"/>
      <dgm:spPr/>
    </dgm:pt>
    <dgm:pt modelId="{529F4A42-3679-4F5E-805F-B5C198BEBE08}" type="pres">
      <dgm:prSet presAssocID="{783C793A-0C23-430F-91C0-D9356E9BF1A3}" presName="composite" presStyleCnt="0"/>
      <dgm:spPr/>
    </dgm:pt>
    <dgm:pt modelId="{053C64EB-C4B3-48B2-BA00-683715E0F6B0}" type="pres">
      <dgm:prSet presAssocID="{783C793A-0C23-430F-91C0-D9356E9BF1A3}" presName="background" presStyleLbl="node0" presStyleIdx="2" presStyleCnt="3"/>
      <dgm:spPr/>
    </dgm:pt>
    <dgm:pt modelId="{A7FE6BFE-DC18-4CCB-BE0A-4C65A4EE85B2}" type="pres">
      <dgm:prSet presAssocID="{783C793A-0C23-430F-91C0-D9356E9BF1A3}" presName="text" presStyleLbl="fgAcc0" presStyleIdx="2" presStyleCnt="3">
        <dgm:presLayoutVars>
          <dgm:chPref val="3"/>
        </dgm:presLayoutVars>
      </dgm:prSet>
      <dgm:spPr/>
    </dgm:pt>
    <dgm:pt modelId="{87D4A07A-3E4F-4450-9123-32D1A848A05C}" type="pres">
      <dgm:prSet presAssocID="{783C793A-0C23-430F-91C0-D9356E9BF1A3}" presName="hierChild2" presStyleCnt="0"/>
      <dgm:spPr/>
    </dgm:pt>
  </dgm:ptLst>
  <dgm:cxnLst>
    <dgm:cxn modelId="{7D1F771C-2F82-4825-8052-0BF93F21F19A}" type="presOf" srcId="{CB1708BE-3422-4433-84D4-24BE3CAF8034}" destId="{18310909-462E-4F28-A612-A5843E3F708B}" srcOrd="0" destOrd="0" presId="urn:microsoft.com/office/officeart/2005/8/layout/hierarchy1"/>
    <dgm:cxn modelId="{E41B961E-F50D-48AB-BB01-828404BDDA11}" srcId="{23C99D59-6493-41CC-8572-2E1C994B93B7}" destId="{CB1708BE-3422-4433-84D4-24BE3CAF8034}" srcOrd="1" destOrd="0" parTransId="{AC5C980F-F69D-43C5-A296-69DB872834F0}" sibTransId="{A620D96A-AE1B-4507-A5E3-43F3F8157132}"/>
    <dgm:cxn modelId="{89143565-EB3F-442C-A965-944D920DAEBB}" type="presOf" srcId="{F99ECE38-8873-4007-97A6-F983118BACB1}" destId="{C39E48AF-F2D6-4C3D-87FB-36B144F9764D}" srcOrd="0" destOrd="0" presId="urn:microsoft.com/office/officeart/2005/8/layout/hierarchy1"/>
    <dgm:cxn modelId="{39E02EB2-F993-42C5-A49D-4ABF07109E76}" type="presOf" srcId="{23C99D59-6493-41CC-8572-2E1C994B93B7}" destId="{C64700BE-1EBF-4659-980F-ADAF38859C29}" srcOrd="0" destOrd="0" presId="urn:microsoft.com/office/officeart/2005/8/layout/hierarchy1"/>
    <dgm:cxn modelId="{C06AD7C4-0124-42F8-91B4-E8B128F0DD67}" srcId="{23C99D59-6493-41CC-8572-2E1C994B93B7}" destId="{783C793A-0C23-430F-91C0-D9356E9BF1A3}" srcOrd="2" destOrd="0" parTransId="{DEED47B2-337F-4F7C-BEF2-0A2B369B40D5}" sibTransId="{4E766B60-08A8-483C-A0A8-CB59EFA799AA}"/>
    <dgm:cxn modelId="{1A4FE6DA-4654-4BE4-9351-3C042B720197}" srcId="{23C99D59-6493-41CC-8572-2E1C994B93B7}" destId="{F99ECE38-8873-4007-97A6-F983118BACB1}" srcOrd="0" destOrd="0" parTransId="{10968196-B082-4E92-B66D-16D3F53510AB}" sibTransId="{9576447B-75E8-42BC-AE83-8E0C38B5D940}"/>
    <dgm:cxn modelId="{23EC17DE-FBC1-41C7-BF82-EFE05EBDB056}" type="presOf" srcId="{783C793A-0C23-430F-91C0-D9356E9BF1A3}" destId="{A7FE6BFE-DC18-4CCB-BE0A-4C65A4EE85B2}" srcOrd="0" destOrd="0" presId="urn:microsoft.com/office/officeart/2005/8/layout/hierarchy1"/>
    <dgm:cxn modelId="{2CD38BEE-8332-4CD1-946B-BBABA7AC966F}" type="presParOf" srcId="{C64700BE-1EBF-4659-980F-ADAF38859C29}" destId="{D41AA062-DA7C-4FEB-89EC-A2451FB6402E}" srcOrd="0" destOrd="0" presId="urn:microsoft.com/office/officeart/2005/8/layout/hierarchy1"/>
    <dgm:cxn modelId="{CABAD262-CBCB-4D91-A7B7-983A145EEE61}" type="presParOf" srcId="{D41AA062-DA7C-4FEB-89EC-A2451FB6402E}" destId="{B17F5ACB-E1FF-44BD-9E65-1F9CAA5D091B}" srcOrd="0" destOrd="0" presId="urn:microsoft.com/office/officeart/2005/8/layout/hierarchy1"/>
    <dgm:cxn modelId="{C025F216-BDB7-4A68-9C0A-F97FF282D9FA}" type="presParOf" srcId="{B17F5ACB-E1FF-44BD-9E65-1F9CAA5D091B}" destId="{5733EF37-CC23-4F9D-860F-EF108038CB48}" srcOrd="0" destOrd="0" presId="urn:microsoft.com/office/officeart/2005/8/layout/hierarchy1"/>
    <dgm:cxn modelId="{07BC7924-6FC6-48CD-B9FA-4A900EBF3CF9}" type="presParOf" srcId="{B17F5ACB-E1FF-44BD-9E65-1F9CAA5D091B}" destId="{C39E48AF-F2D6-4C3D-87FB-36B144F9764D}" srcOrd="1" destOrd="0" presId="urn:microsoft.com/office/officeart/2005/8/layout/hierarchy1"/>
    <dgm:cxn modelId="{910E776C-0635-4B6D-AFB3-8A80C4BE8BC7}" type="presParOf" srcId="{D41AA062-DA7C-4FEB-89EC-A2451FB6402E}" destId="{30D42B54-47FD-4A75-9FA0-0298F57C1F0D}" srcOrd="1" destOrd="0" presId="urn:microsoft.com/office/officeart/2005/8/layout/hierarchy1"/>
    <dgm:cxn modelId="{34DA47E5-6BDC-4648-B79F-E9D9FB331198}" type="presParOf" srcId="{C64700BE-1EBF-4659-980F-ADAF38859C29}" destId="{82926640-E59B-4E7C-ACF2-C504863C4E9E}" srcOrd="1" destOrd="0" presId="urn:microsoft.com/office/officeart/2005/8/layout/hierarchy1"/>
    <dgm:cxn modelId="{45C85220-931B-42BD-8866-86BE2A3704AF}" type="presParOf" srcId="{82926640-E59B-4E7C-ACF2-C504863C4E9E}" destId="{912240DB-E544-4DE0-8166-01FDE045D5B8}" srcOrd="0" destOrd="0" presId="urn:microsoft.com/office/officeart/2005/8/layout/hierarchy1"/>
    <dgm:cxn modelId="{3BB11D32-434A-40A6-9BC1-31D754B44090}" type="presParOf" srcId="{912240DB-E544-4DE0-8166-01FDE045D5B8}" destId="{93E80E5F-4C72-40F3-B0B8-16055048E797}" srcOrd="0" destOrd="0" presId="urn:microsoft.com/office/officeart/2005/8/layout/hierarchy1"/>
    <dgm:cxn modelId="{87D81D82-213A-4F8D-9AA4-563D579457B0}" type="presParOf" srcId="{912240DB-E544-4DE0-8166-01FDE045D5B8}" destId="{18310909-462E-4F28-A612-A5843E3F708B}" srcOrd="1" destOrd="0" presId="urn:microsoft.com/office/officeart/2005/8/layout/hierarchy1"/>
    <dgm:cxn modelId="{AA3FD1AB-BE29-4B94-8612-2A0DF4E30ED3}" type="presParOf" srcId="{82926640-E59B-4E7C-ACF2-C504863C4E9E}" destId="{6CF280F1-7125-47F5-93A5-F78DA8201928}" srcOrd="1" destOrd="0" presId="urn:microsoft.com/office/officeart/2005/8/layout/hierarchy1"/>
    <dgm:cxn modelId="{D7286BDB-D449-4D2F-9010-AB9F9247C0F2}" type="presParOf" srcId="{C64700BE-1EBF-4659-980F-ADAF38859C29}" destId="{BE66AE87-C3E7-4EB8-990B-A5EF6DD8C1C8}" srcOrd="2" destOrd="0" presId="urn:microsoft.com/office/officeart/2005/8/layout/hierarchy1"/>
    <dgm:cxn modelId="{9D0DF304-691D-42BD-A178-8D67E74A6F0D}" type="presParOf" srcId="{BE66AE87-C3E7-4EB8-990B-A5EF6DD8C1C8}" destId="{529F4A42-3679-4F5E-805F-B5C198BEBE08}" srcOrd="0" destOrd="0" presId="urn:microsoft.com/office/officeart/2005/8/layout/hierarchy1"/>
    <dgm:cxn modelId="{6DCF7799-8926-405E-83C0-B58A9D16C548}" type="presParOf" srcId="{529F4A42-3679-4F5E-805F-B5C198BEBE08}" destId="{053C64EB-C4B3-48B2-BA00-683715E0F6B0}" srcOrd="0" destOrd="0" presId="urn:microsoft.com/office/officeart/2005/8/layout/hierarchy1"/>
    <dgm:cxn modelId="{625F9285-DEA9-4DAC-9796-DCF900730BD4}" type="presParOf" srcId="{529F4A42-3679-4F5E-805F-B5C198BEBE08}" destId="{A7FE6BFE-DC18-4CCB-BE0A-4C65A4EE85B2}" srcOrd="1" destOrd="0" presId="urn:microsoft.com/office/officeart/2005/8/layout/hierarchy1"/>
    <dgm:cxn modelId="{3ABBD7F1-AEAB-4866-B832-E5E1E8E1C21A}" type="presParOf" srcId="{BE66AE87-C3E7-4EB8-990B-A5EF6DD8C1C8}" destId="{87D4A07A-3E4F-4450-9123-32D1A848A05C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AE3E88-E4E0-4364-BD93-6F2D7353434B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2E8647DC-3243-49FB-8410-5379DCE8A4BC}">
      <dgm:prSet/>
      <dgm:spPr/>
      <dgm:t>
        <a:bodyPr/>
        <a:lstStyle/>
        <a:p>
          <a:r>
            <a:rPr lang="fr-FR" b="1"/>
            <a:t>L’usure,</a:t>
          </a:r>
          <a:r>
            <a:rPr lang="fr-FR"/>
            <a:t> malgré les travaux d’entretien ou la non-utilisation.</a:t>
          </a:r>
          <a:endParaRPr lang="en-US"/>
        </a:p>
      </dgm:t>
    </dgm:pt>
    <dgm:pt modelId="{3CFB7055-D22D-496A-9A7A-09A3EF283863}" type="parTrans" cxnId="{DFEDC110-AA2D-4949-8FC2-1893B526C7D0}">
      <dgm:prSet/>
      <dgm:spPr/>
      <dgm:t>
        <a:bodyPr/>
        <a:lstStyle/>
        <a:p>
          <a:endParaRPr lang="en-US"/>
        </a:p>
      </dgm:t>
    </dgm:pt>
    <dgm:pt modelId="{3FFBD546-50E3-4BE4-BA24-D72616369FF4}" type="sibTrans" cxnId="{DFEDC110-AA2D-4949-8FC2-1893B526C7D0}">
      <dgm:prSet/>
      <dgm:spPr/>
      <dgm:t>
        <a:bodyPr/>
        <a:lstStyle/>
        <a:p>
          <a:endParaRPr lang="en-US"/>
        </a:p>
      </dgm:t>
    </dgm:pt>
    <dgm:pt modelId="{6C86DC79-64CA-4EEC-8207-E3902983CA34}">
      <dgm:prSet/>
      <dgm:spPr/>
      <dgm:t>
        <a:bodyPr/>
        <a:lstStyle/>
        <a:p>
          <a:r>
            <a:rPr lang="fr-FR" b="1"/>
            <a:t>Le progrès technique</a:t>
          </a:r>
          <a:r>
            <a:rPr lang="fr-FR"/>
            <a:t> (ou obsolescence).</a:t>
          </a:r>
          <a:endParaRPr lang="en-US"/>
        </a:p>
      </dgm:t>
    </dgm:pt>
    <dgm:pt modelId="{D9FC1E56-ACBB-4169-9571-20D250BE0685}" type="parTrans" cxnId="{97F82B5F-9E78-4161-89B1-0ED92A3EE637}">
      <dgm:prSet/>
      <dgm:spPr/>
      <dgm:t>
        <a:bodyPr/>
        <a:lstStyle/>
        <a:p>
          <a:endParaRPr lang="en-US"/>
        </a:p>
      </dgm:t>
    </dgm:pt>
    <dgm:pt modelId="{989B1A80-CA1F-4FF8-A6B6-27F65DE82C72}" type="sibTrans" cxnId="{97F82B5F-9E78-4161-89B1-0ED92A3EE637}">
      <dgm:prSet/>
      <dgm:spPr/>
      <dgm:t>
        <a:bodyPr/>
        <a:lstStyle/>
        <a:p>
          <a:endParaRPr lang="en-US"/>
        </a:p>
      </dgm:t>
    </dgm:pt>
    <dgm:pt modelId="{98CE229B-B136-49C9-A28A-35347A2D7D23}" type="pres">
      <dgm:prSet presAssocID="{61AE3E88-E4E0-4364-BD93-6F2D7353434B}" presName="linear" presStyleCnt="0">
        <dgm:presLayoutVars>
          <dgm:animLvl val="lvl"/>
          <dgm:resizeHandles val="exact"/>
        </dgm:presLayoutVars>
      </dgm:prSet>
      <dgm:spPr/>
    </dgm:pt>
    <dgm:pt modelId="{C42037C4-3824-4DC4-9122-18F8E1145E3E}" type="pres">
      <dgm:prSet presAssocID="{2E8647DC-3243-49FB-8410-5379DCE8A4B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DE3C7EA7-5B57-4395-B719-7A937B94394B}" type="pres">
      <dgm:prSet presAssocID="{3FFBD546-50E3-4BE4-BA24-D72616369FF4}" presName="spacer" presStyleCnt="0"/>
      <dgm:spPr/>
    </dgm:pt>
    <dgm:pt modelId="{10960BB6-8A93-49AC-8CD4-386CEB9F3A25}" type="pres">
      <dgm:prSet presAssocID="{6C86DC79-64CA-4EEC-8207-E3902983CA34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DFEDC110-AA2D-4949-8FC2-1893B526C7D0}" srcId="{61AE3E88-E4E0-4364-BD93-6F2D7353434B}" destId="{2E8647DC-3243-49FB-8410-5379DCE8A4BC}" srcOrd="0" destOrd="0" parTransId="{3CFB7055-D22D-496A-9A7A-09A3EF283863}" sibTransId="{3FFBD546-50E3-4BE4-BA24-D72616369FF4}"/>
    <dgm:cxn modelId="{CAF53E28-5B53-454A-BEE5-F33D41743AB1}" type="presOf" srcId="{61AE3E88-E4E0-4364-BD93-6F2D7353434B}" destId="{98CE229B-B136-49C9-A28A-35347A2D7D23}" srcOrd="0" destOrd="0" presId="urn:microsoft.com/office/officeart/2005/8/layout/vList2"/>
    <dgm:cxn modelId="{97F82B5F-9E78-4161-89B1-0ED92A3EE637}" srcId="{61AE3E88-E4E0-4364-BD93-6F2D7353434B}" destId="{6C86DC79-64CA-4EEC-8207-E3902983CA34}" srcOrd="1" destOrd="0" parTransId="{D9FC1E56-ACBB-4169-9571-20D250BE0685}" sibTransId="{989B1A80-CA1F-4FF8-A6B6-27F65DE82C72}"/>
    <dgm:cxn modelId="{83D46E7F-9D7D-480D-BBC4-F354BA863CE0}" type="presOf" srcId="{2E8647DC-3243-49FB-8410-5379DCE8A4BC}" destId="{C42037C4-3824-4DC4-9122-18F8E1145E3E}" srcOrd="0" destOrd="0" presId="urn:microsoft.com/office/officeart/2005/8/layout/vList2"/>
    <dgm:cxn modelId="{66B964C9-F826-400E-81DB-A57DDF4FF104}" type="presOf" srcId="{6C86DC79-64CA-4EEC-8207-E3902983CA34}" destId="{10960BB6-8A93-49AC-8CD4-386CEB9F3A25}" srcOrd="0" destOrd="0" presId="urn:microsoft.com/office/officeart/2005/8/layout/vList2"/>
    <dgm:cxn modelId="{0D7B8FE2-3AC9-475A-B5C2-7BA4E0D50DF3}" type="presParOf" srcId="{98CE229B-B136-49C9-A28A-35347A2D7D23}" destId="{C42037C4-3824-4DC4-9122-18F8E1145E3E}" srcOrd="0" destOrd="0" presId="urn:microsoft.com/office/officeart/2005/8/layout/vList2"/>
    <dgm:cxn modelId="{A95AB853-08D8-40B8-841D-5E5C4AF79384}" type="presParOf" srcId="{98CE229B-B136-49C9-A28A-35347A2D7D23}" destId="{DE3C7EA7-5B57-4395-B719-7A937B94394B}" srcOrd="1" destOrd="0" presId="urn:microsoft.com/office/officeart/2005/8/layout/vList2"/>
    <dgm:cxn modelId="{BD028854-3D39-40E2-9084-4B5BFE4FD03D}" type="presParOf" srcId="{98CE229B-B136-49C9-A28A-35347A2D7D23}" destId="{10960BB6-8A93-49AC-8CD4-386CEB9F3A25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1AE3E88-E4E0-4364-BD93-6F2D7353434B}" type="doc">
      <dgm:prSet loTypeId="urn:microsoft.com/office/officeart/2005/8/layout/vList2" loCatId="list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E8647DC-3243-49FB-8410-5379DCE8A4BC}">
      <dgm:prSet/>
      <dgm:spPr/>
      <dgm:t>
        <a:bodyPr/>
        <a:lstStyle/>
        <a:p>
          <a:r>
            <a:rPr lang="fr-FR" dirty="0"/>
            <a:t>L'amortissement dépend donc de l'usage ou des conditions d'utilisation des immobilisations amortissables par l'entreprise.</a:t>
          </a:r>
          <a:endParaRPr lang="en-US" dirty="0"/>
        </a:p>
      </dgm:t>
    </dgm:pt>
    <dgm:pt modelId="{3CFB7055-D22D-496A-9A7A-09A3EF283863}" type="parTrans" cxnId="{DFEDC110-AA2D-4949-8FC2-1893B526C7D0}">
      <dgm:prSet/>
      <dgm:spPr/>
      <dgm:t>
        <a:bodyPr/>
        <a:lstStyle/>
        <a:p>
          <a:endParaRPr lang="en-US"/>
        </a:p>
      </dgm:t>
    </dgm:pt>
    <dgm:pt modelId="{3FFBD546-50E3-4BE4-BA24-D72616369FF4}" type="sibTrans" cxnId="{DFEDC110-AA2D-4949-8FC2-1893B526C7D0}">
      <dgm:prSet/>
      <dgm:spPr/>
      <dgm:t>
        <a:bodyPr/>
        <a:lstStyle/>
        <a:p>
          <a:endParaRPr lang="en-US"/>
        </a:p>
      </dgm:t>
    </dgm:pt>
    <dgm:pt modelId="{AEC9E334-1946-4E3D-BEFE-7AEC3A1DB73C}" type="pres">
      <dgm:prSet presAssocID="{61AE3E88-E4E0-4364-BD93-6F2D7353434B}" presName="linear" presStyleCnt="0">
        <dgm:presLayoutVars>
          <dgm:animLvl val="lvl"/>
          <dgm:resizeHandles val="exact"/>
        </dgm:presLayoutVars>
      </dgm:prSet>
      <dgm:spPr/>
    </dgm:pt>
    <dgm:pt modelId="{4A3B13D6-CCCC-4B1A-8619-997C99DC5938}" type="pres">
      <dgm:prSet presAssocID="{2E8647DC-3243-49FB-8410-5379DCE8A4BC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DB78930B-68D1-48A4-B7D1-8425C2B8260C}" type="presOf" srcId="{2E8647DC-3243-49FB-8410-5379DCE8A4BC}" destId="{4A3B13D6-CCCC-4B1A-8619-997C99DC5938}" srcOrd="0" destOrd="0" presId="urn:microsoft.com/office/officeart/2005/8/layout/vList2"/>
    <dgm:cxn modelId="{DFEDC110-AA2D-4949-8FC2-1893B526C7D0}" srcId="{61AE3E88-E4E0-4364-BD93-6F2D7353434B}" destId="{2E8647DC-3243-49FB-8410-5379DCE8A4BC}" srcOrd="0" destOrd="0" parTransId="{3CFB7055-D22D-496A-9A7A-09A3EF283863}" sibTransId="{3FFBD546-50E3-4BE4-BA24-D72616369FF4}"/>
    <dgm:cxn modelId="{1EFCC289-1331-492D-880A-A71670EF9DA1}" type="presOf" srcId="{61AE3E88-E4E0-4364-BD93-6F2D7353434B}" destId="{AEC9E334-1946-4E3D-BEFE-7AEC3A1DB73C}" srcOrd="0" destOrd="0" presId="urn:microsoft.com/office/officeart/2005/8/layout/vList2"/>
    <dgm:cxn modelId="{0A478665-2C06-4C92-8951-8B3F64B41D65}" type="presParOf" srcId="{AEC9E334-1946-4E3D-BEFE-7AEC3A1DB73C}" destId="{4A3B13D6-CCCC-4B1A-8619-997C99DC593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56926BE-FCD3-4D98-9B04-C2A5FD493F1D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icon_colorful2" csCatId="colorful" phldr="1"/>
      <dgm:spPr/>
      <dgm:t>
        <a:bodyPr/>
        <a:lstStyle/>
        <a:p>
          <a:endParaRPr lang="en-US"/>
        </a:p>
      </dgm:t>
    </dgm:pt>
    <dgm:pt modelId="{0FE45BDD-1356-4FB3-AC72-16B6F23C759D}">
      <dgm:prSet custT="1"/>
      <dgm:spPr/>
      <dgm:t>
        <a:bodyPr/>
        <a:lstStyle/>
        <a:p>
          <a:r>
            <a:rPr lang="fr-FR" sz="3200" dirty="0"/>
            <a:t>- pouvoir estimer la durée de vie du bien,  </a:t>
          </a:r>
          <a:endParaRPr lang="en-US" sz="3200" dirty="0"/>
        </a:p>
      </dgm:t>
    </dgm:pt>
    <dgm:pt modelId="{A59AFE6C-4205-4F44-B29A-5C9B5ACB1BFA}" type="parTrans" cxnId="{49BE08CA-D967-43EA-B8B5-A8505D768001}">
      <dgm:prSet/>
      <dgm:spPr/>
      <dgm:t>
        <a:bodyPr/>
        <a:lstStyle/>
        <a:p>
          <a:endParaRPr lang="en-US"/>
        </a:p>
      </dgm:t>
    </dgm:pt>
    <dgm:pt modelId="{50AFD922-5607-4F6A-AF91-F138F328054F}" type="sibTrans" cxnId="{49BE08CA-D967-43EA-B8B5-A8505D768001}">
      <dgm:prSet/>
      <dgm:spPr/>
      <dgm:t>
        <a:bodyPr/>
        <a:lstStyle/>
        <a:p>
          <a:endParaRPr lang="en-US"/>
        </a:p>
      </dgm:t>
    </dgm:pt>
    <dgm:pt modelId="{E08FB52C-D79E-4017-8C35-200002BB0B22}">
      <dgm:prSet custT="1"/>
      <dgm:spPr/>
      <dgm:t>
        <a:bodyPr/>
        <a:lstStyle/>
        <a:p>
          <a:r>
            <a:rPr lang="fr-FR"/>
            <a:t>- pouvoir estimer son coût d’acquisition</a:t>
          </a:r>
          <a:endParaRPr lang="en-US"/>
        </a:p>
      </dgm:t>
    </dgm:pt>
    <dgm:pt modelId="{D302BC08-7EB9-4341-96EB-8BE6127380FA}" type="parTrans" cxnId="{641257EA-4731-4556-99EE-0BF290763340}">
      <dgm:prSet/>
      <dgm:spPr/>
      <dgm:t>
        <a:bodyPr/>
        <a:lstStyle/>
        <a:p>
          <a:endParaRPr lang="en-US"/>
        </a:p>
      </dgm:t>
    </dgm:pt>
    <dgm:pt modelId="{C8C32B0E-7BEA-4AF4-8F45-8BFAB0B77C7E}" type="sibTrans" cxnId="{641257EA-4731-4556-99EE-0BF290763340}">
      <dgm:prSet/>
      <dgm:spPr/>
      <dgm:t>
        <a:bodyPr/>
        <a:lstStyle/>
        <a:p>
          <a:endParaRPr lang="en-US"/>
        </a:p>
      </dgm:t>
    </dgm:pt>
    <dgm:pt modelId="{307F7C1B-82D4-4A06-B70E-5C64ED3FACC1}" type="pres">
      <dgm:prSet presAssocID="{356926BE-FCD3-4D98-9B04-C2A5FD493F1D}" presName="root" presStyleCnt="0">
        <dgm:presLayoutVars>
          <dgm:dir/>
          <dgm:resizeHandles val="exact"/>
        </dgm:presLayoutVars>
      </dgm:prSet>
      <dgm:spPr/>
    </dgm:pt>
    <dgm:pt modelId="{93F3CC04-8CD4-4107-B57D-DE3063481213}" type="pres">
      <dgm:prSet presAssocID="{356926BE-FCD3-4D98-9B04-C2A5FD493F1D}" presName="container" presStyleCnt="0">
        <dgm:presLayoutVars>
          <dgm:dir/>
          <dgm:resizeHandles val="exact"/>
        </dgm:presLayoutVars>
      </dgm:prSet>
      <dgm:spPr/>
    </dgm:pt>
    <dgm:pt modelId="{422F41F2-2A40-4837-A688-269E9ED1C7DB}" type="pres">
      <dgm:prSet presAssocID="{0FE45BDD-1356-4FB3-AC72-16B6F23C759D}" presName="compNode" presStyleCnt="0"/>
      <dgm:spPr/>
    </dgm:pt>
    <dgm:pt modelId="{9A2D3FEC-27CE-44EB-A4E0-6B7906CCE248}" type="pres">
      <dgm:prSet presAssocID="{0FE45BDD-1356-4FB3-AC72-16B6F23C759D}" presName="iconBgRect" presStyleLbl="bgShp" presStyleIdx="0" presStyleCnt="2"/>
      <dgm:spPr/>
    </dgm:pt>
    <dgm:pt modelId="{DDFA0BA9-ED78-4C51-98EB-DE12C789189E}" type="pres">
      <dgm:prSet presAssocID="{0FE45BDD-1356-4FB3-AC72-16B6F23C759D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ablier terminé"/>
        </a:ext>
      </dgm:extLst>
    </dgm:pt>
    <dgm:pt modelId="{D82C8B3D-B566-43C5-A115-0C62A1CF4844}" type="pres">
      <dgm:prSet presAssocID="{0FE45BDD-1356-4FB3-AC72-16B6F23C759D}" presName="spaceRect" presStyleCnt="0"/>
      <dgm:spPr/>
    </dgm:pt>
    <dgm:pt modelId="{8AA828D2-81F2-41B1-A1D0-68D9011D0CC2}" type="pres">
      <dgm:prSet presAssocID="{0FE45BDD-1356-4FB3-AC72-16B6F23C759D}" presName="textRect" presStyleLbl="revTx" presStyleIdx="0" presStyleCnt="2">
        <dgm:presLayoutVars>
          <dgm:chMax val="1"/>
          <dgm:chPref val="1"/>
        </dgm:presLayoutVars>
      </dgm:prSet>
      <dgm:spPr/>
    </dgm:pt>
    <dgm:pt modelId="{4DD2D685-3429-4A1C-A456-DC19A8BC6ACD}" type="pres">
      <dgm:prSet presAssocID="{50AFD922-5607-4F6A-AF91-F138F328054F}" presName="sibTrans" presStyleLbl="sibTrans2D1" presStyleIdx="0" presStyleCnt="0"/>
      <dgm:spPr/>
    </dgm:pt>
    <dgm:pt modelId="{3A8B04E8-11A4-4B75-8A62-864FC06ED8CA}" type="pres">
      <dgm:prSet presAssocID="{E08FB52C-D79E-4017-8C35-200002BB0B22}" presName="compNode" presStyleCnt="0"/>
      <dgm:spPr/>
    </dgm:pt>
    <dgm:pt modelId="{DE88C41C-F56E-4E98-92DE-9999B9B4F514}" type="pres">
      <dgm:prSet presAssocID="{E08FB52C-D79E-4017-8C35-200002BB0B22}" presName="iconBgRect" presStyleLbl="bgShp" presStyleIdx="1" presStyleCnt="2"/>
      <dgm:spPr/>
    </dgm:pt>
    <dgm:pt modelId="{9E84C88D-6699-4FD0-8D9F-C8149708FEFE}" type="pres">
      <dgm:prSet presAssocID="{E08FB52C-D79E-4017-8C35-200002BB0B2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culatrice"/>
        </a:ext>
      </dgm:extLst>
    </dgm:pt>
    <dgm:pt modelId="{4EFB4206-4623-4347-A185-01398B05FFA5}" type="pres">
      <dgm:prSet presAssocID="{E08FB52C-D79E-4017-8C35-200002BB0B22}" presName="spaceRect" presStyleCnt="0"/>
      <dgm:spPr/>
    </dgm:pt>
    <dgm:pt modelId="{A8A19ECE-A22D-4F37-8A14-9AC5B0F0894E}" type="pres">
      <dgm:prSet presAssocID="{E08FB52C-D79E-4017-8C35-200002BB0B2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F91CE075-94E8-4EC7-89F7-960226643061}" type="presOf" srcId="{50AFD922-5607-4F6A-AF91-F138F328054F}" destId="{4DD2D685-3429-4A1C-A456-DC19A8BC6ACD}" srcOrd="0" destOrd="0" presId="urn:microsoft.com/office/officeart/2018/2/layout/IconCircleList"/>
    <dgm:cxn modelId="{C6DEF685-1149-43D0-A5DF-38044560344C}" type="presOf" srcId="{0FE45BDD-1356-4FB3-AC72-16B6F23C759D}" destId="{8AA828D2-81F2-41B1-A1D0-68D9011D0CC2}" srcOrd="0" destOrd="0" presId="urn:microsoft.com/office/officeart/2018/2/layout/IconCircleList"/>
    <dgm:cxn modelId="{917AAAC6-1743-4F3F-914E-786E464C3EFB}" type="presOf" srcId="{E08FB52C-D79E-4017-8C35-200002BB0B22}" destId="{A8A19ECE-A22D-4F37-8A14-9AC5B0F0894E}" srcOrd="0" destOrd="0" presId="urn:microsoft.com/office/officeart/2018/2/layout/IconCircleList"/>
    <dgm:cxn modelId="{49BE08CA-D967-43EA-B8B5-A8505D768001}" srcId="{356926BE-FCD3-4D98-9B04-C2A5FD493F1D}" destId="{0FE45BDD-1356-4FB3-AC72-16B6F23C759D}" srcOrd="0" destOrd="0" parTransId="{A59AFE6C-4205-4F44-B29A-5C9B5ACB1BFA}" sibTransId="{50AFD922-5607-4F6A-AF91-F138F328054F}"/>
    <dgm:cxn modelId="{641257EA-4731-4556-99EE-0BF290763340}" srcId="{356926BE-FCD3-4D98-9B04-C2A5FD493F1D}" destId="{E08FB52C-D79E-4017-8C35-200002BB0B22}" srcOrd="1" destOrd="0" parTransId="{D302BC08-7EB9-4341-96EB-8BE6127380FA}" sibTransId="{C8C32B0E-7BEA-4AF4-8F45-8BFAB0B77C7E}"/>
    <dgm:cxn modelId="{A47887FE-4775-4B42-A6C2-71C1EFB400B7}" type="presOf" srcId="{356926BE-FCD3-4D98-9B04-C2A5FD493F1D}" destId="{307F7C1B-82D4-4A06-B70E-5C64ED3FACC1}" srcOrd="0" destOrd="0" presId="urn:microsoft.com/office/officeart/2018/2/layout/IconCircleList"/>
    <dgm:cxn modelId="{4102C390-32E2-48E4-B70F-3247B36DE191}" type="presParOf" srcId="{307F7C1B-82D4-4A06-B70E-5C64ED3FACC1}" destId="{93F3CC04-8CD4-4107-B57D-DE3063481213}" srcOrd="0" destOrd="0" presId="urn:microsoft.com/office/officeart/2018/2/layout/IconCircleList"/>
    <dgm:cxn modelId="{2498DDA0-8533-417A-A466-87016BD8E23C}" type="presParOf" srcId="{93F3CC04-8CD4-4107-B57D-DE3063481213}" destId="{422F41F2-2A40-4837-A688-269E9ED1C7DB}" srcOrd="0" destOrd="0" presId="urn:microsoft.com/office/officeart/2018/2/layout/IconCircleList"/>
    <dgm:cxn modelId="{D918C01B-8C4C-4FD4-A634-8E3B151389C8}" type="presParOf" srcId="{422F41F2-2A40-4837-A688-269E9ED1C7DB}" destId="{9A2D3FEC-27CE-44EB-A4E0-6B7906CCE248}" srcOrd="0" destOrd="0" presId="urn:microsoft.com/office/officeart/2018/2/layout/IconCircleList"/>
    <dgm:cxn modelId="{32EBB106-E319-463C-BBC2-3AAE81919C40}" type="presParOf" srcId="{422F41F2-2A40-4837-A688-269E9ED1C7DB}" destId="{DDFA0BA9-ED78-4C51-98EB-DE12C789189E}" srcOrd="1" destOrd="0" presId="urn:microsoft.com/office/officeart/2018/2/layout/IconCircleList"/>
    <dgm:cxn modelId="{E5FBE337-745D-41BF-A478-A908B544801F}" type="presParOf" srcId="{422F41F2-2A40-4837-A688-269E9ED1C7DB}" destId="{D82C8B3D-B566-43C5-A115-0C62A1CF4844}" srcOrd="2" destOrd="0" presId="urn:microsoft.com/office/officeart/2018/2/layout/IconCircleList"/>
    <dgm:cxn modelId="{288C1768-CCA1-4D8A-B9FD-DE233B5E3141}" type="presParOf" srcId="{422F41F2-2A40-4837-A688-269E9ED1C7DB}" destId="{8AA828D2-81F2-41B1-A1D0-68D9011D0CC2}" srcOrd="3" destOrd="0" presId="urn:microsoft.com/office/officeart/2018/2/layout/IconCircleList"/>
    <dgm:cxn modelId="{01DD363D-C43A-417E-8031-2358F51CD3CD}" type="presParOf" srcId="{93F3CC04-8CD4-4107-B57D-DE3063481213}" destId="{4DD2D685-3429-4A1C-A456-DC19A8BC6ACD}" srcOrd="1" destOrd="0" presId="urn:microsoft.com/office/officeart/2018/2/layout/IconCircleList"/>
    <dgm:cxn modelId="{5D4D4BE8-E7FD-43AE-B225-7C3673A0B869}" type="presParOf" srcId="{93F3CC04-8CD4-4107-B57D-DE3063481213}" destId="{3A8B04E8-11A4-4B75-8A62-864FC06ED8CA}" srcOrd="2" destOrd="0" presId="urn:microsoft.com/office/officeart/2018/2/layout/IconCircleList"/>
    <dgm:cxn modelId="{D2FF9928-DCBF-4C75-9238-610071E785AD}" type="presParOf" srcId="{3A8B04E8-11A4-4B75-8A62-864FC06ED8CA}" destId="{DE88C41C-F56E-4E98-92DE-9999B9B4F514}" srcOrd="0" destOrd="0" presId="urn:microsoft.com/office/officeart/2018/2/layout/IconCircleList"/>
    <dgm:cxn modelId="{9C07E7EE-95CA-48D6-AD89-5CFD6CAA942F}" type="presParOf" srcId="{3A8B04E8-11A4-4B75-8A62-864FC06ED8CA}" destId="{9E84C88D-6699-4FD0-8D9F-C8149708FEFE}" srcOrd="1" destOrd="0" presId="urn:microsoft.com/office/officeart/2018/2/layout/IconCircleList"/>
    <dgm:cxn modelId="{7CB6FBF9-230B-48D5-93EC-33414AF499DD}" type="presParOf" srcId="{3A8B04E8-11A4-4B75-8A62-864FC06ED8CA}" destId="{4EFB4206-4623-4347-A185-01398B05FFA5}" srcOrd="2" destOrd="0" presId="urn:microsoft.com/office/officeart/2018/2/layout/IconCircleList"/>
    <dgm:cxn modelId="{A4E5E00E-CCA7-4493-B8B4-5ACCD1D47125}" type="presParOf" srcId="{3A8B04E8-11A4-4B75-8A62-864FC06ED8CA}" destId="{A8A19ECE-A22D-4F37-8A14-9AC5B0F0894E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2B8E682-CE78-4203-A178-E6008765BC52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8D6E95F-5808-464E-8B7A-C77D64A7257C}">
      <dgm:prSet custT="1"/>
      <dgm:spPr/>
      <dgm:t>
        <a:bodyPr/>
        <a:lstStyle/>
        <a:p>
          <a:r>
            <a:rPr lang="fr-FR" sz="2400" dirty="0"/>
            <a:t>- droits de douane,</a:t>
          </a:r>
          <a:endParaRPr lang="en-US" sz="2400" dirty="0"/>
        </a:p>
      </dgm:t>
    </dgm:pt>
    <dgm:pt modelId="{BCF31368-06EA-4F13-8CB2-184BB84A2253}" type="parTrans" cxnId="{E44AF6D2-DB72-4A72-BB0A-9B94B7C04F21}">
      <dgm:prSet/>
      <dgm:spPr/>
      <dgm:t>
        <a:bodyPr/>
        <a:lstStyle/>
        <a:p>
          <a:endParaRPr lang="en-US"/>
        </a:p>
      </dgm:t>
    </dgm:pt>
    <dgm:pt modelId="{A2EAD9B3-2EE8-43D7-AB5C-22FCD9D7EED4}" type="sibTrans" cxnId="{E44AF6D2-DB72-4A72-BB0A-9B94B7C04F21}">
      <dgm:prSet/>
      <dgm:spPr/>
      <dgm:t>
        <a:bodyPr/>
        <a:lstStyle/>
        <a:p>
          <a:endParaRPr lang="en-US"/>
        </a:p>
      </dgm:t>
    </dgm:pt>
    <dgm:pt modelId="{849F3D09-51CB-4FAD-B37C-B05C48107CE2}">
      <dgm:prSet custT="1"/>
      <dgm:spPr/>
      <dgm:t>
        <a:bodyPr/>
        <a:lstStyle/>
        <a:p>
          <a:r>
            <a:rPr lang="fr-FR" sz="2400" dirty="0"/>
            <a:t>- frais de transport,</a:t>
          </a:r>
          <a:endParaRPr lang="en-US" sz="2400" dirty="0"/>
        </a:p>
      </dgm:t>
    </dgm:pt>
    <dgm:pt modelId="{482C3838-4BA9-43B5-AF93-CD49769EE3EF}" type="parTrans" cxnId="{02409995-EB93-4DC8-866D-906D53A99DC8}">
      <dgm:prSet/>
      <dgm:spPr/>
      <dgm:t>
        <a:bodyPr/>
        <a:lstStyle/>
        <a:p>
          <a:endParaRPr lang="en-US"/>
        </a:p>
      </dgm:t>
    </dgm:pt>
    <dgm:pt modelId="{0F04B869-CF00-4367-B772-45E8DA9DBBEE}" type="sibTrans" cxnId="{02409995-EB93-4DC8-866D-906D53A99DC8}">
      <dgm:prSet/>
      <dgm:spPr/>
      <dgm:t>
        <a:bodyPr/>
        <a:lstStyle/>
        <a:p>
          <a:endParaRPr lang="en-US"/>
        </a:p>
      </dgm:t>
    </dgm:pt>
    <dgm:pt modelId="{CB3083A8-A74A-49CC-9A76-4BCCE0D11A15}">
      <dgm:prSet custT="1"/>
      <dgm:spPr/>
      <dgm:t>
        <a:bodyPr/>
        <a:lstStyle/>
        <a:p>
          <a:r>
            <a:rPr lang="fr-FR" sz="2400" dirty="0"/>
            <a:t>- frais de montage,</a:t>
          </a:r>
          <a:endParaRPr lang="en-US" sz="2400" dirty="0"/>
        </a:p>
      </dgm:t>
    </dgm:pt>
    <dgm:pt modelId="{B0440F28-1027-488F-998A-FF2AA4DAD149}" type="parTrans" cxnId="{CE951EF9-48E3-4590-B48D-8F09C6AB2532}">
      <dgm:prSet/>
      <dgm:spPr/>
      <dgm:t>
        <a:bodyPr/>
        <a:lstStyle/>
        <a:p>
          <a:endParaRPr lang="en-US"/>
        </a:p>
      </dgm:t>
    </dgm:pt>
    <dgm:pt modelId="{EFD98FF6-4B52-49DD-BD7B-323BF60918A4}" type="sibTrans" cxnId="{CE951EF9-48E3-4590-B48D-8F09C6AB2532}">
      <dgm:prSet/>
      <dgm:spPr/>
      <dgm:t>
        <a:bodyPr/>
        <a:lstStyle/>
        <a:p>
          <a:endParaRPr lang="en-US"/>
        </a:p>
      </dgm:t>
    </dgm:pt>
    <dgm:pt modelId="{8A18C334-3690-41D1-AC5E-C2416B8D35FA}">
      <dgm:prSet custT="1"/>
      <dgm:spPr/>
      <dgm:t>
        <a:bodyPr/>
        <a:lstStyle/>
        <a:p>
          <a:r>
            <a:rPr lang="fr-FR" sz="2400" dirty="0"/>
            <a:t>- frais d’installation,</a:t>
          </a:r>
          <a:endParaRPr lang="en-US" sz="2400" dirty="0"/>
        </a:p>
      </dgm:t>
    </dgm:pt>
    <dgm:pt modelId="{AE4A1EED-ED16-432B-959D-77E17918517A}" type="parTrans" cxnId="{CEB3B5C7-89DD-4675-9A79-F211B11B870C}">
      <dgm:prSet/>
      <dgm:spPr/>
      <dgm:t>
        <a:bodyPr/>
        <a:lstStyle/>
        <a:p>
          <a:endParaRPr lang="en-US"/>
        </a:p>
      </dgm:t>
    </dgm:pt>
    <dgm:pt modelId="{4A16F91C-E70A-4017-8444-CD89FBF23E88}" type="sibTrans" cxnId="{CEB3B5C7-89DD-4675-9A79-F211B11B870C}">
      <dgm:prSet/>
      <dgm:spPr/>
      <dgm:t>
        <a:bodyPr/>
        <a:lstStyle/>
        <a:p>
          <a:endParaRPr lang="en-US"/>
        </a:p>
      </dgm:t>
    </dgm:pt>
    <dgm:pt modelId="{CAF0C2DA-4C65-44C7-BAD3-717FCDA1F0DF}">
      <dgm:prSet custT="1"/>
      <dgm:spPr/>
      <dgm:t>
        <a:bodyPr/>
        <a:lstStyle/>
        <a:p>
          <a:r>
            <a:rPr lang="fr-FR" sz="2400" dirty="0"/>
            <a:t>- frais de déchargement,</a:t>
          </a:r>
          <a:endParaRPr lang="en-US" sz="2400" dirty="0"/>
        </a:p>
      </dgm:t>
    </dgm:pt>
    <dgm:pt modelId="{08C29ACC-B3D9-415C-9341-5E249F2F1313}" type="parTrans" cxnId="{FE8402FB-EB28-4817-8ADE-6D2898695968}">
      <dgm:prSet/>
      <dgm:spPr/>
      <dgm:t>
        <a:bodyPr/>
        <a:lstStyle/>
        <a:p>
          <a:endParaRPr lang="en-US"/>
        </a:p>
      </dgm:t>
    </dgm:pt>
    <dgm:pt modelId="{55FBE5A4-33B3-4DED-9220-C87B6FE84994}" type="sibTrans" cxnId="{FE8402FB-EB28-4817-8ADE-6D2898695968}">
      <dgm:prSet/>
      <dgm:spPr/>
      <dgm:t>
        <a:bodyPr/>
        <a:lstStyle/>
        <a:p>
          <a:endParaRPr lang="en-US"/>
        </a:p>
      </dgm:t>
    </dgm:pt>
    <dgm:pt modelId="{6A4532C9-7B44-4896-B55F-A5B865F19BF2}">
      <dgm:prSet custT="1"/>
      <dgm:spPr/>
      <dgm:t>
        <a:bodyPr/>
        <a:lstStyle/>
        <a:p>
          <a:r>
            <a:rPr lang="fr-FR" sz="2400" dirty="0"/>
            <a:t>- frais de remise en état, en cas d'achat d'une immobilisation d'occasion,</a:t>
          </a:r>
          <a:endParaRPr lang="en-US" sz="2400" dirty="0"/>
        </a:p>
      </dgm:t>
    </dgm:pt>
    <dgm:pt modelId="{E9FF541B-D6E5-4FD1-9E08-4016C2CE0DEB}" type="parTrans" cxnId="{096C424D-834C-4FD1-898E-72125545C95F}">
      <dgm:prSet/>
      <dgm:spPr/>
      <dgm:t>
        <a:bodyPr/>
        <a:lstStyle/>
        <a:p>
          <a:endParaRPr lang="en-US"/>
        </a:p>
      </dgm:t>
    </dgm:pt>
    <dgm:pt modelId="{884189C2-88B1-4E28-9AFD-DAEF284FF003}" type="sibTrans" cxnId="{096C424D-834C-4FD1-898E-72125545C95F}">
      <dgm:prSet/>
      <dgm:spPr/>
      <dgm:t>
        <a:bodyPr/>
        <a:lstStyle/>
        <a:p>
          <a:endParaRPr lang="en-US"/>
        </a:p>
      </dgm:t>
    </dgm:pt>
    <dgm:pt modelId="{7187FCC8-C4B1-4883-BB95-8872430C26AE}">
      <dgm:prSet custT="1"/>
      <dgm:spPr/>
      <dgm:t>
        <a:bodyPr/>
        <a:lstStyle/>
        <a:p>
          <a:r>
            <a:rPr lang="fr-FR" sz="2400" dirty="0"/>
            <a:t>- T.V.A non déductible (pour les véhicules de tourisme par exemple),</a:t>
          </a:r>
          <a:endParaRPr lang="en-US" sz="2400" dirty="0"/>
        </a:p>
      </dgm:t>
    </dgm:pt>
    <dgm:pt modelId="{1EB03C5A-B610-49B5-8211-37DD55DCEC2D}" type="parTrans" cxnId="{57D8D5EA-9C63-4685-8EF7-43493DDE463B}">
      <dgm:prSet/>
      <dgm:spPr/>
      <dgm:t>
        <a:bodyPr/>
        <a:lstStyle/>
        <a:p>
          <a:endParaRPr lang="en-US"/>
        </a:p>
      </dgm:t>
    </dgm:pt>
    <dgm:pt modelId="{98C636F6-B3E8-448E-B93C-08BBA3E26256}" type="sibTrans" cxnId="{57D8D5EA-9C63-4685-8EF7-43493DDE463B}">
      <dgm:prSet/>
      <dgm:spPr/>
      <dgm:t>
        <a:bodyPr/>
        <a:lstStyle/>
        <a:p>
          <a:endParaRPr lang="en-US"/>
        </a:p>
      </dgm:t>
    </dgm:pt>
    <dgm:pt modelId="{C95E4067-A2C1-49F1-974C-4532AE4F5FD0}" type="pres">
      <dgm:prSet presAssocID="{C2B8E682-CE78-4203-A178-E6008765BC52}" presName="linear" presStyleCnt="0">
        <dgm:presLayoutVars>
          <dgm:animLvl val="lvl"/>
          <dgm:resizeHandles val="exact"/>
        </dgm:presLayoutVars>
      </dgm:prSet>
      <dgm:spPr/>
    </dgm:pt>
    <dgm:pt modelId="{C0C9BBE3-B994-4155-9C7C-12B4C28E6768}" type="pres">
      <dgm:prSet presAssocID="{18D6E95F-5808-464E-8B7A-C77D64A7257C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E07259A6-C994-4625-959D-580865857335}" type="pres">
      <dgm:prSet presAssocID="{A2EAD9B3-2EE8-43D7-AB5C-22FCD9D7EED4}" presName="spacer" presStyleCnt="0"/>
      <dgm:spPr/>
    </dgm:pt>
    <dgm:pt modelId="{CFF12EF2-485E-4182-B336-4478191B3265}" type="pres">
      <dgm:prSet presAssocID="{849F3D09-51CB-4FAD-B37C-B05C48107CE2}" presName="parentText" presStyleLbl="node1" presStyleIdx="1" presStyleCnt="7">
        <dgm:presLayoutVars>
          <dgm:chMax val="0"/>
          <dgm:bulletEnabled val="1"/>
        </dgm:presLayoutVars>
      </dgm:prSet>
      <dgm:spPr/>
    </dgm:pt>
    <dgm:pt modelId="{526245D8-FAB0-47DB-A9AC-4E8F7FAC53A5}" type="pres">
      <dgm:prSet presAssocID="{0F04B869-CF00-4367-B772-45E8DA9DBBEE}" presName="spacer" presStyleCnt="0"/>
      <dgm:spPr/>
    </dgm:pt>
    <dgm:pt modelId="{02D2B8F5-3D9E-4B02-841D-F1C64D55E7BB}" type="pres">
      <dgm:prSet presAssocID="{CB3083A8-A74A-49CC-9A76-4BCCE0D11A15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E4F3AFA3-A76B-4C5A-8A4A-361462C36B3C}" type="pres">
      <dgm:prSet presAssocID="{EFD98FF6-4B52-49DD-BD7B-323BF60918A4}" presName="spacer" presStyleCnt="0"/>
      <dgm:spPr/>
    </dgm:pt>
    <dgm:pt modelId="{891CEF43-A450-4AA4-8305-0E698B910498}" type="pres">
      <dgm:prSet presAssocID="{8A18C334-3690-41D1-AC5E-C2416B8D35FA}" presName="parentText" presStyleLbl="node1" presStyleIdx="3" presStyleCnt="7">
        <dgm:presLayoutVars>
          <dgm:chMax val="0"/>
          <dgm:bulletEnabled val="1"/>
        </dgm:presLayoutVars>
      </dgm:prSet>
      <dgm:spPr/>
    </dgm:pt>
    <dgm:pt modelId="{025662BB-1C00-40E7-B8A4-014FB59C364C}" type="pres">
      <dgm:prSet presAssocID="{4A16F91C-E70A-4017-8444-CD89FBF23E88}" presName="spacer" presStyleCnt="0"/>
      <dgm:spPr/>
    </dgm:pt>
    <dgm:pt modelId="{8617C645-B55D-48DA-8B16-9B1A8996F8A2}" type="pres">
      <dgm:prSet presAssocID="{CAF0C2DA-4C65-44C7-BAD3-717FCDA1F0DF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1D08329A-831D-4989-9435-D332135067E2}" type="pres">
      <dgm:prSet presAssocID="{55FBE5A4-33B3-4DED-9220-C87B6FE84994}" presName="spacer" presStyleCnt="0"/>
      <dgm:spPr/>
    </dgm:pt>
    <dgm:pt modelId="{92833AD8-BFF0-430E-9B6D-0E085FD8181E}" type="pres">
      <dgm:prSet presAssocID="{6A4532C9-7B44-4896-B55F-A5B865F19BF2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ED1FAF94-B692-4C5F-ACC6-2E9F3C013E95}" type="pres">
      <dgm:prSet presAssocID="{884189C2-88B1-4E28-9AFD-DAEF284FF003}" presName="spacer" presStyleCnt="0"/>
      <dgm:spPr/>
    </dgm:pt>
    <dgm:pt modelId="{B4A0E13C-D079-4999-BC60-1C5948CEB3E9}" type="pres">
      <dgm:prSet presAssocID="{7187FCC8-C4B1-4883-BB95-8872430C26AE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0E33F10C-A2EF-422A-BCCE-4535C5CA0612}" type="presOf" srcId="{7187FCC8-C4B1-4883-BB95-8872430C26AE}" destId="{B4A0E13C-D079-4999-BC60-1C5948CEB3E9}" srcOrd="0" destOrd="0" presId="urn:microsoft.com/office/officeart/2005/8/layout/vList2"/>
    <dgm:cxn modelId="{91E69C26-655D-48B0-91ED-A10B0AEFEFD1}" type="presOf" srcId="{CAF0C2DA-4C65-44C7-BAD3-717FCDA1F0DF}" destId="{8617C645-B55D-48DA-8B16-9B1A8996F8A2}" srcOrd="0" destOrd="0" presId="urn:microsoft.com/office/officeart/2005/8/layout/vList2"/>
    <dgm:cxn modelId="{B5D20665-54C8-48B0-9D0B-C7AA21BB6D44}" type="presOf" srcId="{C2B8E682-CE78-4203-A178-E6008765BC52}" destId="{C95E4067-A2C1-49F1-974C-4532AE4F5FD0}" srcOrd="0" destOrd="0" presId="urn:microsoft.com/office/officeart/2005/8/layout/vList2"/>
    <dgm:cxn modelId="{C09DF966-C852-4EF0-8BFA-A1210BD5FEE2}" type="presOf" srcId="{849F3D09-51CB-4FAD-B37C-B05C48107CE2}" destId="{CFF12EF2-485E-4182-B336-4478191B3265}" srcOrd="0" destOrd="0" presId="urn:microsoft.com/office/officeart/2005/8/layout/vList2"/>
    <dgm:cxn modelId="{51A8656B-CAAF-48D9-8A73-09B2579087BC}" type="presOf" srcId="{18D6E95F-5808-464E-8B7A-C77D64A7257C}" destId="{C0C9BBE3-B994-4155-9C7C-12B4C28E6768}" srcOrd="0" destOrd="0" presId="urn:microsoft.com/office/officeart/2005/8/layout/vList2"/>
    <dgm:cxn modelId="{096C424D-834C-4FD1-898E-72125545C95F}" srcId="{C2B8E682-CE78-4203-A178-E6008765BC52}" destId="{6A4532C9-7B44-4896-B55F-A5B865F19BF2}" srcOrd="5" destOrd="0" parTransId="{E9FF541B-D6E5-4FD1-9E08-4016C2CE0DEB}" sibTransId="{884189C2-88B1-4E28-9AFD-DAEF284FF003}"/>
    <dgm:cxn modelId="{BA190E57-D611-447E-B684-867C575858F2}" type="presOf" srcId="{6A4532C9-7B44-4896-B55F-A5B865F19BF2}" destId="{92833AD8-BFF0-430E-9B6D-0E085FD8181E}" srcOrd="0" destOrd="0" presId="urn:microsoft.com/office/officeart/2005/8/layout/vList2"/>
    <dgm:cxn modelId="{02409995-EB93-4DC8-866D-906D53A99DC8}" srcId="{C2B8E682-CE78-4203-A178-E6008765BC52}" destId="{849F3D09-51CB-4FAD-B37C-B05C48107CE2}" srcOrd="1" destOrd="0" parTransId="{482C3838-4BA9-43B5-AF93-CD49769EE3EF}" sibTransId="{0F04B869-CF00-4367-B772-45E8DA9DBBEE}"/>
    <dgm:cxn modelId="{4136689C-9C94-4B40-B078-F6B56E43DCF5}" type="presOf" srcId="{8A18C334-3690-41D1-AC5E-C2416B8D35FA}" destId="{891CEF43-A450-4AA4-8305-0E698B910498}" srcOrd="0" destOrd="0" presId="urn:microsoft.com/office/officeart/2005/8/layout/vList2"/>
    <dgm:cxn modelId="{CEB3B5C7-89DD-4675-9A79-F211B11B870C}" srcId="{C2B8E682-CE78-4203-A178-E6008765BC52}" destId="{8A18C334-3690-41D1-AC5E-C2416B8D35FA}" srcOrd="3" destOrd="0" parTransId="{AE4A1EED-ED16-432B-959D-77E17918517A}" sibTransId="{4A16F91C-E70A-4017-8444-CD89FBF23E88}"/>
    <dgm:cxn modelId="{D252C2CD-19C1-435D-A584-6E90A7059A36}" type="presOf" srcId="{CB3083A8-A74A-49CC-9A76-4BCCE0D11A15}" destId="{02D2B8F5-3D9E-4B02-841D-F1C64D55E7BB}" srcOrd="0" destOrd="0" presId="urn:microsoft.com/office/officeart/2005/8/layout/vList2"/>
    <dgm:cxn modelId="{E44AF6D2-DB72-4A72-BB0A-9B94B7C04F21}" srcId="{C2B8E682-CE78-4203-A178-E6008765BC52}" destId="{18D6E95F-5808-464E-8B7A-C77D64A7257C}" srcOrd="0" destOrd="0" parTransId="{BCF31368-06EA-4F13-8CB2-184BB84A2253}" sibTransId="{A2EAD9B3-2EE8-43D7-AB5C-22FCD9D7EED4}"/>
    <dgm:cxn modelId="{57D8D5EA-9C63-4685-8EF7-43493DDE463B}" srcId="{C2B8E682-CE78-4203-A178-E6008765BC52}" destId="{7187FCC8-C4B1-4883-BB95-8872430C26AE}" srcOrd="6" destOrd="0" parTransId="{1EB03C5A-B610-49B5-8211-37DD55DCEC2D}" sibTransId="{98C636F6-B3E8-448E-B93C-08BBA3E26256}"/>
    <dgm:cxn modelId="{CE951EF9-48E3-4590-B48D-8F09C6AB2532}" srcId="{C2B8E682-CE78-4203-A178-E6008765BC52}" destId="{CB3083A8-A74A-49CC-9A76-4BCCE0D11A15}" srcOrd="2" destOrd="0" parTransId="{B0440F28-1027-488F-998A-FF2AA4DAD149}" sibTransId="{EFD98FF6-4B52-49DD-BD7B-323BF60918A4}"/>
    <dgm:cxn modelId="{FE8402FB-EB28-4817-8ADE-6D2898695968}" srcId="{C2B8E682-CE78-4203-A178-E6008765BC52}" destId="{CAF0C2DA-4C65-44C7-BAD3-717FCDA1F0DF}" srcOrd="4" destOrd="0" parTransId="{08C29ACC-B3D9-415C-9341-5E249F2F1313}" sibTransId="{55FBE5A4-33B3-4DED-9220-C87B6FE84994}"/>
    <dgm:cxn modelId="{43384E63-89A6-41C9-942E-4BEBA06F1745}" type="presParOf" srcId="{C95E4067-A2C1-49F1-974C-4532AE4F5FD0}" destId="{C0C9BBE3-B994-4155-9C7C-12B4C28E6768}" srcOrd="0" destOrd="0" presId="urn:microsoft.com/office/officeart/2005/8/layout/vList2"/>
    <dgm:cxn modelId="{5D3C9F88-683C-4D61-8192-879A20E30C9A}" type="presParOf" srcId="{C95E4067-A2C1-49F1-974C-4532AE4F5FD0}" destId="{E07259A6-C994-4625-959D-580865857335}" srcOrd="1" destOrd="0" presId="urn:microsoft.com/office/officeart/2005/8/layout/vList2"/>
    <dgm:cxn modelId="{9831F237-F609-4C81-9EE7-1D353835BC05}" type="presParOf" srcId="{C95E4067-A2C1-49F1-974C-4532AE4F5FD0}" destId="{CFF12EF2-485E-4182-B336-4478191B3265}" srcOrd="2" destOrd="0" presId="urn:microsoft.com/office/officeart/2005/8/layout/vList2"/>
    <dgm:cxn modelId="{EF4D1F76-C0AF-4963-9B07-08DDFF4F7D15}" type="presParOf" srcId="{C95E4067-A2C1-49F1-974C-4532AE4F5FD0}" destId="{526245D8-FAB0-47DB-A9AC-4E8F7FAC53A5}" srcOrd="3" destOrd="0" presId="urn:microsoft.com/office/officeart/2005/8/layout/vList2"/>
    <dgm:cxn modelId="{76432FB7-1FB2-4570-B8D2-EC6B2721E596}" type="presParOf" srcId="{C95E4067-A2C1-49F1-974C-4532AE4F5FD0}" destId="{02D2B8F5-3D9E-4B02-841D-F1C64D55E7BB}" srcOrd="4" destOrd="0" presId="urn:microsoft.com/office/officeart/2005/8/layout/vList2"/>
    <dgm:cxn modelId="{1FB3E5B3-6735-4CF9-AA61-EEE2A58349E5}" type="presParOf" srcId="{C95E4067-A2C1-49F1-974C-4532AE4F5FD0}" destId="{E4F3AFA3-A76B-4C5A-8A4A-361462C36B3C}" srcOrd="5" destOrd="0" presId="urn:microsoft.com/office/officeart/2005/8/layout/vList2"/>
    <dgm:cxn modelId="{1DA3BEC8-F449-495C-BA12-17F167C0226B}" type="presParOf" srcId="{C95E4067-A2C1-49F1-974C-4532AE4F5FD0}" destId="{891CEF43-A450-4AA4-8305-0E698B910498}" srcOrd="6" destOrd="0" presId="urn:microsoft.com/office/officeart/2005/8/layout/vList2"/>
    <dgm:cxn modelId="{06359CAC-7EBC-4CDE-B477-276539B3F6DD}" type="presParOf" srcId="{C95E4067-A2C1-49F1-974C-4532AE4F5FD0}" destId="{025662BB-1C00-40E7-B8A4-014FB59C364C}" srcOrd="7" destOrd="0" presId="urn:microsoft.com/office/officeart/2005/8/layout/vList2"/>
    <dgm:cxn modelId="{82B0E72C-4A86-4B2E-8841-A41DAD5B2B1F}" type="presParOf" srcId="{C95E4067-A2C1-49F1-974C-4532AE4F5FD0}" destId="{8617C645-B55D-48DA-8B16-9B1A8996F8A2}" srcOrd="8" destOrd="0" presId="urn:microsoft.com/office/officeart/2005/8/layout/vList2"/>
    <dgm:cxn modelId="{F6FFB5E7-CDF8-4A33-AE6C-29C9A8394141}" type="presParOf" srcId="{C95E4067-A2C1-49F1-974C-4532AE4F5FD0}" destId="{1D08329A-831D-4989-9435-D332135067E2}" srcOrd="9" destOrd="0" presId="urn:microsoft.com/office/officeart/2005/8/layout/vList2"/>
    <dgm:cxn modelId="{82D32BED-E761-46F8-9F71-158F9D056687}" type="presParOf" srcId="{C95E4067-A2C1-49F1-974C-4532AE4F5FD0}" destId="{92833AD8-BFF0-430E-9B6D-0E085FD8181E}" srcOrd="10" destOrd="0" presId="urn:microsoft.com/office/officeart/2005/8/layout/vList2"/>
    <dgm:cxn modelId="{40289133-9EAA-4676-944F-F1C76F145BCE}" type="presParOf" srcId="{C95E4067-A2C1-49F1-974C-4532AE4F5FD0}" destId="{ED1FAF94-B692-4C5F-ACC6-2E9F3C013E95}" srcOrd="11" destOrd="0" presId="urn:microsoft.com/office/officeart/2005/8/layout/vList2"/>
    <dgm:cxn modelId="{6C875AFD-F077-44A0-8B94-C9ACA65DFD8E}" type="presParOf" srcId="{C95E4067-A2C1-49F1-974C-4532AE4F5FD0}" destId="{B4A0E13C-D079-4999-BC60-1C5948CEB3E9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2B8E682-CE78-4203-A178-E6008765BC52}" type="doc">
      <dgm:prSet loTypeId="urn:microsoft.com/office/officeart/2016/7/layout/LinearBlockProcessNumbered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8D6E95F-5808-464E-8B7A-C77D64A7257C}">
      <dgm:prSet/>
      <dgm:spPr/>
      <dgm:t>
        <a:bodyPr/>
        <a:lstStyle/>
        <a:p>
          <a:r>
            <a:rPr lang="fr-FR" dirty="0"/>
            <a:t>- honoraires (d'architectes, avocats</a:t>
          </a:r>
          <a:endParaRPr lang="en-US" dirty="0"/>
        </a:p>
      </dgm:t>
    </dgm:pt>
    <dgm:pt modelId="{BCF31368-06EA-4F13-8CB2-184BB84A2253}" type="parTrans" cxnId="{E44AF6D2-DB72-4A72-BB0A-9B94B7C04F21}">
      <dgm:prSet/>
      <dgm:spPr/>
      <dgm:t>
        <a:bodyPr/>
        <a:lstStyle/>
        <a:p>
          <a:endParaRPr lang="en-US"/>
        </a:p>
      </dgm:t>
    </dgm:pt>
    <dgm:pt modelId="{A2EAD9B3-2EE8-43D7-AB5C-22FCD9D7EED4}" type="sibTrans" cxnId="{E44AF6D2-DB72-4A72-BB0A-9B94B7C04F21}">
      <dgm:prSet phldrT="01"/>
      <dgm:spPr/>
      <dgm:t>
        <a:bodyPr/>
        <a:lstStyle/>
        <a:p>
          <a:r>
            <a:rPr lang="en-US"/>
            <a:t>01</a:t>
          </a:r>
        </a:p>
      </dgm:t>
    </dgm:pt>
    <dgm:pt modelId="{A9C94E38-DE00-430F-A369-55D1ED91E897}">
      <dgm:prSet/>
      <dgm:spPr/>
      <dgm:t>
        <a:bodyPr/>
        <a:lstStyle/>
        <a:p>
          <a:r>
            <a:rPr lang="fr-FR"/>
            <a:t>- droits de mutation,</a:t>
          </a:r>
        </a:p>
      </dgm:t>
    </dgm:pt>
    <dgm:pt modelId="{7BAA7773-44EC-4CC2-A282-171C6F375DD2}" type="parTrans" cxnId="{9FAC609D-9C30-41B0-A807-3A922DB098A1}">
      <dgm:prSet/>
      <dgm:spPr/>
      <dgm:t>
        <a:bodyPr/>
        <a:lstStyle/>
        <a:p>
          <a:endParaRPr lang="fr-FR"/>
        </a:p>
      </dgm:t>
    </dgm:pt>
    <dgm:pt modelId="{A16032D3-3990-4369-AAAA-B97CBB15B08E}" type="sibTrans" cxnId="{9FAC609D-9C30-41B0-A807-3A922DB098A1}">
      <dgm:prSet phldrT="02"/>
      <dgm:spPr/>
      <dgm:t>
        <a:bodyPr/>
        <a:lstStyle/>
        <a:p>
          <a:r>
            <a:rPr lang="fr-FR"/>
            <a:t>02</a:t>
          </a:r>
        </a:p>
      </dgm:t>
    </dgm:pt>
    <dgm:pt modelId="{3427ED3D-138D-45E7-9B89-A928F0929A53}">
      <dgm:prSet/>
      <dgm:spPr/>
      <dgm:t>
        <a:bodyPr/>
        <a:lstStyle/>
        <a:p>
          <a:r>
            <a:rPr lang="fr-FR"/>
            <a:t>- commissions (frais d'agence immobilière), </a:t>
          </a:r>
        </a:p>
      </dgm:t>
    </dgm:pt>
    <dgm:pt modelId="{6406ECA7-2755-4F00-A704-0327C6845D43}" type="parTrans" cxnId="{63EA64A2-C297-4598-BABE-4B68F6BD2086}">
      <dgm:prSet/>
      <dgm:spPr/>
      <dgm:t>
        <a:bodyPr/>
        <a:lstStyle/>
        <a:p>
          <a:endParaRPr lang="fr-FR"/>
        </a:p>
      </dgm:t>
    </dgm:pt>
    <dgm:pt modelId="{C083CA37-D28A-4502-9F5C-EFFBAF087C6E}" type="sibTrans" cxnId="{63EA64A2-C297-4598-BABE-4B68F6BD2086}">
      <dgm:prSet phldrT="03"/>
      <dgm:spPr/>
      <dgm:t>
        <a:bodyPr/>
        <a:lstStyle/>
        <a:p>
          <a:r>
            <a:rPr lang="fr-FR"/>
            <a:t>03</a:t>
          </a:r>
        </a:p>
      </dgm:t>
    </dgm:pt>
    <dgm:pt modelId="{4D021C31-9D3A-4635-8D4B-1E896C3E4B56}">
      <dgm:prSet/>
      <dgm:spPr/>
      <dgm:t>
        <a:bodyPr/>
        <a:lstStyle/>
        <a:p>
          <a:r>
            <a:rPr lang="fr-FR"/>
            <a:t>- frais d'actes.</a:t>
          </a:r>
        </a:p>
      </dgm:t>
    </dgm:pt>
    <dgm:pt modelId="{7758A51F-12A8-496B-93B0-FF8A1CA2DD27}" type="parTrans" cxnId="{4F4D89AA-2F10-4851-86A2-F5E67D30B852}">
      <dgm:prSet/>
      <dgm:spPr/>
      <dgm:t>
        <a:bodyPr/>
        <a:lstStyle/>
        <a:p>
          <a:endParaRPr lang="fr-FR"/>
        </a:p>
      </dgm:t>
    </dgm:pt>
    <dgm:pt modelId="{2CC82EBA-5F26-4A61-B817-E5B3852C10D3}" type="sibTrans" cxnId="{4F4D89AA-2F10-4851-86A2-F5E67D30B852}">
      <dgm:prSet phldrT="04"/>
      <dgm:spPr/>
      <dgm:t>
        <a:bodyPr/>
        <a:lstStyle/>
        <a:p>
          <a:r>
            <a:rPr lang="fr-FR"/>
            <a:t>04</a:t>
          </a:r>
        </a:p>
      </dgm:t>
    </dgm:pt>
    <dgm:pt modelId="{98B83E53-6624-4D87-AC5E-594A5388FE58}" type="pres">
      <dgm:prSet presAssocID="{C2B8E682-CE78-4203-A178-E6008765BC52}" presName="Name0" presStyleCnt="0">
        <dgm:presLayoutVars>
          <dgm:animLvl val="lvl"/>
          <dgm:resizeHandles val="exact"/>
        </dgm:presLayoutVars>
      </dgm:prSet>
      <dgm:spPr/>
    </dgm:pt>
    <dgm:pt modelId="{55001D63-DF9F-405C-A58C-F6EF6936B210}" type="pres">
      <dgm:prSet presAssocID="{18D6E95F-5808-464E-8B7A-C77D64A7257C}" presName="compositeNode" presStyleCnt="0">
        <dgm:presLayoutVars>
          <dgm:bulletEnabled val="1"/>
        </dgm:presLayoutVars>
      </dgm:prSet>
      <dgm:spPr/>
    </dgm:pt>
    <dgm:pt modelId="{03C63C21-2077-4D2B-9D35-BE93B388B5CC}" type="pres">
      <dgm:prSet presAssocID="{18D6E95F-5808-464E-8B7A-C77D64A7257C}" presName="bgRect" presStyleLbl="alignNode1" presStyleIdx="0" presStyleCnt="4"/>
      <dgm:spPr/>
    </dgm:pt>
    <dgm:pt modelId="{1202D765-D302-4E74-A2B8-20E60CE5A293}" type="pres">
      <dgm:prSet presAssocID="{A2EAD9B3-2EE8-43D7-AB5C-22FCD9D7EED4}" presName="sibTransNodeRect" presStyleLbl="alignNode1" presStyleIdx="0" presStyleCnt="4">
        <dgm:presLayoutVars>
          <dgm:chMax val="0"/>
          <dgm:bulletEnabled val="1"/>
        </dgm:presLayoutVars>
      </dgm:prSet>
      <dgm:spPr/>
    </dgm:pt>
    <dgm:pt modelId="{5253B57C-8976-463F-98DC-C5264FB77B27}" type="pres">
      <dgm:prSet presAssocID="{18D6E95F-5808-464E-8B7A-C77D64A7257C}" presName="nodeRect" presStyleLbl="alignNode1" presStyleIdx="0" presStyleCnt="4">
        <dgm:presLayoutVars>
          <dgm:bulletEnabled val="1"/>
        </dgm:presLayoutVars>
      </dgm:prSet>
      <dgm:spPr/>
    </dgm:pt>
    <dgm:pt modelId="{B705839C-A2E8-4178-AC9B-BF0755DC7B73}" type="pres">
      <dgm:prSet presAssocID="{A2EAD9B3-2EE8-43D7-AB5C-22FCD9D7EED4}" presName="sibTrans" presStyleCnt="0"/>
      <dgm:spPr/>
    </dgm:pt>
    <dgm:pt modelId="{DC43C4D6-BD12-48CA-A377-A724A9AAAC83}" type="pres">
      <dgm:prSet presAssocID="{A9C94E38-DE00-430F-A369-55D1ED91E897}" presName="compositeNode" presStyleCnt="0">
        <dgm:presLayoutVars>
          <dgm:bulletEnabled val="1"/>
        </dgm:presLayoutVars>
      </dgm:prSet>
      <dgm:spPr/>
    </dgm:pt>
    <dgm:pt modelId="{3F30D49C-76BF-4183-9B91-6C97220BA2AA}" type="pres">
      <dgm:prSet presAssocID="{A9C94E38-DE00-430F-A369-55D1ED91E897}" presName="bgRect" presStyleLbl="alignNode1" presStyleIdx="1" presStyleCnt="4"/>
      <dgm:spPr/>
    </dgm:pt>
    <dgm:pt modelId="{C6312857-B7CF-4539-B7E4-AECF04369EAA}" type="pres">
      <dgm:prSet presAssocID="{A16032D3-3990-4369-AAAA-B97CBB15B08E}" presName="sibTransNodeRect" presStyleLbl="alignNode1" presStyleIdx="1" presStyleCnt="4">
        <dgm:presLayoutVars>
          <dgm:chMax val="0"/>
          <dgm:bulletEnabled val="1"/>
        </dgm:presLayoutVars>
      </dgm:prSet>
      <dgm:spPr/>
    </dgm:pt>
    <dgm:pt modelId="{75A4809D-0B1C-49FE-9BFC-0A989A0D2E7F}" type="pres">
      <dgm:prSet presAssocID="{A9C94E38-DE00-430F-A369-55D1ED91E897}" presName="nodeRect" presStyleLbl="alignNode1" presStyleIdx="1" presStyleCnt="4">
        <dgm:presLayoutVars>
          <dgm:bulletEnabled val="1"/>
        </dgm:presLayoutVars>
      </dgm:prSet>
      <dgm:spPr/>
    </dgm:pt>
    <dgm:pt modelId="{E3120E86-E841-416C-A88F-1C47FAFEAB83}" type="pres">
      <dgm:prSet presAssocID="{A16032D3-3990-4369-AAAA-B97CBB15B08E}" presName="sibTrans" presStyleCnt="0"/>
      <dgm:spPr/>
    </dgm:pt>
    <dgm:pt modelId="{97E9DC24-6817-4462-B7AC-C4D24AFA7F54}" type="pres">
      <dgm:prSet presAssocID="{3427ED3D-138D-45E7-9B89-A928F0929A53}" presName="compositeNode" presStyleCnt="0">
        <dgm:presLayoutVars>
          <dgm:bulletEnabled val="1"/>
        </dgm:presLayoutVars>
      </dgm:prSet>
      <dgm:spPr/>
    </dgm:pt>
    <dgm:pt modelId="{6D26F5A3-92D8-44EC-A766-54410919774A}" type="pres">
      <dgm:prSet presAssocID="{3427ED3D-138D-45E7-9B89-A928F0929A53}" presName="bgRect" presStyleLbl="alignNode1" presStyleIdx="2" presStyleCnt="4"/>
      <dgm:spPr/>
    </dgm:pt>
    <dgm:pt modelId="{EE98CC14-1250-48C3-8B99-8A18E9D8A738}" type="pres">
      <dgm:prSet presAssocID="{C083CA37-D28A-4502-9F5C-EFFBAF087C6E}" presName="sibTransNodeRect" presStyleLbl="alignNode1" presStyleIdx="2" presStyleCnt="4">
        <dgm:presLayoutVars>
          <dgm:chMax val="0"/>
          <dgm:bulletEnabled val="1"/>
        </dgm:presLayoutVars>
      </dgm:prSet>
      <dgm:spPr/>
    </dgm:pt>
    <dgm:pt modelId="{487BC409-8B1A-4E1F-B70F-75FC1F92F718}" type="pres">
      <dgm:prSet presAssocID="{3427ED3D-138D-45E7-9B89-A928F0929A53}" presName="nodeRect" presStyleLbl="alignNode1" presStyleIdx="2" presStyleCnt="4">
        <dgm:presLayoutVars>
          <dgm:bulletEnabled val="1"/>
        </dgm:presLayoutVars>
      </dgm:prSet>
      <dgm:spPr/>
    </dgm:pt>
    <dgm:pt modelId="{D3A40726-32C3-4AFC-B20A-7DD01C7D25F0}" type="pres">
      <dgm:prSet presAssocID="{C083CA37-D28A-4502-9F5C-EFFBAF087C6E}" presName="sibTrans" presStyleCnt="0"/>
      <dgm:spPr/>
    </dgm:pt>
    <dgm:pt modelId="{88ABAC41-B834-450A-A4F6-CA6EDB1B1B57}" type="pres">
      <dgm:prSet presAssocID="{4D021C31-9D3A-4635-8D4B-1E896C3E4B56}" presName="compositeNode" presStyleCnt="0">
        <dgm:presLayoutVars>
          <dgm:bulletEnabled val="1"/>
        </dgm:presLayoutVars>
      </dgm:prSet>
      <dgm:spPr/>
    </dgm:pt>
    <dgm:pt modelId="{BA1C8A48-89B9-4090-86F1-E32F76179EAC}" type="pres">
      <dgm:prSet presAssocID="{4D021C31-9D3A-4635-8D4B-1E896C3E4B56}" presName="bgRect" presStyleLbl="alignNode1" presStyleIdx="3" presStyleCnt="4"/>
      <dgm:spPr/>
    </dgm:pt>
    <dgm:pt modelId="{A98A07C7-C9F6-4D61-B649-37571E33F450}" type="pres">
      <dgm:prSet presAssocID="{2CC82EBA-5F26-4A61-B817-E5B3852C10D3}" presName="sibTransNodeRect" presStyleLbl="alignNode1" presStyleIdx="3" presStyleCnt="4">
        <dgm:presLayoutVars>
          <dgm:chMax val="0"/>
          <dgm:bulletEnabled val="1"/>
        </dgm:presLayoutVars>
      </dgm:prSet>
      <dgm:spPr/>
    </dgm:pt>
    <dgm:pt modelId="{6D37E09D-B50A-4644-AF22-AD5CFB1FDFEB}" type="pres">
      <dgm:prSet presAssocID="{4D021C31-9D3A-4635-8D4B-1E896C3E4B56}" presName="nodeRect" presStyleLbl="alignNode1" presStyleIdx="3" presStyleCnt="4">
        <dgm:presLayoutVars>
          <dgm:bulletEnabled val="1"/>
        </dgm:presLayoutVars>
      </dgm:prSet>
      <dgm:spPr/>
    </dgm:pt>
  </dgm:ptLst>
  <dgm:cxnLst>
    <dgm:cxn modelId="{4171E500-90B9-4E79-8CD2-D78E073B4BDF}" type="presOf" srcId="{A9C94E38-DE00-430F-A369-55D1ED91E897}" destId="{75A4809D-0B1C-49FE-9BFC-0A989A0D2E7F}" srcOrd="1" destOrd="0" presId="urn:microsoft.com/office/officeart/2016/7/layout/LinearBlockProcessNumbered"/>
    <dgm:cxn modelId="{E7B00833-D68B-4650-AE9C-964B611AA0DF}" type="presOf" srcId="{3427ED3D-138D-45E7-9B89-A928F0929A53}" destId="{6D26F5A3-92D8-44EC-A766-54410919774A}" srcOrd="0" destOrd="0" presId="urn:microsoft.com/office/officeart/2016/7/layout/LinearBlockProcessNumbered"/>
    <dgm:cxn modelId="{A0BEDD74-DC01-4F9B-A588-015CF0C743D1}" type="presOf" srcId="{C2B8E682-CE78-4203-A178-E6008765BC52}" destId="{98B83E53-6624-4D87-AC5E-594A5388FE58}" srcOrd="0" destOrd="0" presId="urn:microsoft.com/office/officeart/2016/7/layout/LinearBlockProcessNumbered"/>
    <dgm:cxn modelId="{AD73CA7B-E3C9-4900-862E-6F75DB17A273}" type="presOf" srcId="{A2EAD9B3-2EE8-43D7-AB5C-22FCD9D7EED4}" destId="{1202D765-D302-4E74-A2B8-20E60CE5A293}" srcOrd="0" destOrd="0" presId="urn:microsoft.com/office/officeart/2016/7/layout/LinearBlockProcessNumbered"/>
    <dgm:cxn modelId="{C9EEF087-6183-4DEF-AAC2-BDEADDBE2743}" type="presOf" srcId="{A9C94E38-DE00-430F-A369-55D1ED91E897}" destId="{3F30D49C-76BF-4183-9B91-6C97220BA2AA}" srcOrd="0" destOrd="0" presId="urn:microsoft.com/office/officeart/2016/7/layout/LinearBlockProcessNumbered"/>
    <dgm:cxn modelId="{55781F9D-BD90-4B4F-8601-06A7BFD4AF14}" type="presOf" srcId="{C083CA37-D28A-4502-9F5C-EFFBAF087C6E}" destId="{EE98CC14-1250-48C3-8B99-8A18E9D8A738}" srcOrd="0" destOrd="0" presId="urn:microsoft.com/office/officeart/2016/7/layout/LinearBlockProcessNumbered"/>
    <dgm:cxn modelId="{9FAC609D-9C30-41B0-A807-3A922DB098A1}" srcId="{C2B8E682-CE78-4203-A178-E6008765BC52}" destId="{A9C94E38-DE00-430F-A369-55D1ED91E897}" srcOrd="1" destOrd="0" parTransId="{7BAA7773-44EC-4CC2-A282-171C6F375DD2}" sibTransId="{A16032D3-3990-4369-AAAA-B97CBB15B08E}"/>
    <dgm:cxn modelId="{63EA64A2-C297-4598-BABE-4B68F6BD2086}" srcId="{C2B8E682-CE78-4203-A178-E6008765BC52}" destId="{3427ED3D-138D-45E7-9B89-A928F0929A53}" srcOrd="2" destOrd="0" parTransId="{6406ECA7-2755-4F00-A704-0327C6845D43}" sibTransId="{C083CA37-D28A-4502-9F5C-EFFBAF087C6E}"/>
    <dgm:cxn modelId="{DEAC0FA3-94D0-4233-97AA-FC6FF22EDE1B}" type="presOf" srcId="{4D021C31-9D3A-4635-8D4B-1E896C3E4B56}" destId="{BA1C8A48-89B9-4090-86F1-E32F76179EAC}" srcOrd="0" destOrd="0" presId="urn:microsoft.com/office/officeart/2016/7/layout/LinearBlockProcessNumbered"/>
    <dgm:cxn modelId="{4F4D89AA-2F10-4851-86A2-F5E67D30B852}" srcId="{C2B8E682-CE78-4203-A178-E6008765BC52}" destId="{4D021C31-9D3A-4635-8D4B-1E896C3E4B56}" srcOrd="3" destOrd="0" parTransId="{7758A51F-12A8-496B-93B0-FF8A1CA2DD27}" sibTransId="{2CC82EBA-5F26-4A61-B817-E5B3852C10D3}"/>
    <dgm:cxn modelId="{A018F8B0-FCDA-4FBB-9505-E760A85D47A9}" type="presOf" srcId="{A16032D3-3990-4369-AAAA-B97CBB15B08E}" destId="{C6312857-B7CF-4539-B7E4-AECF04369EAA}" srcOrd="0" destOrd="0" presId="urn:microsoft.com/office/officeart/2016/7/layout/LinearBlockProcessNumbered"/>
    <dgm:cxn modelId="{F7DA2DB3-F7E8-485C-9374-F2B214E7B950}" type="presOf" srcId="{4D021C31-9D3A-4635-8D4B-1E896C3E4B56}" destId="{6D37E09D-B50A-4644-AF22-AD5CFB1FDFEB}" srcOrd="1" destOrd="0" presId="urn:microsoft.com/office/officeart/2016/7/layout/LinearBlockProcessNumbered"/>
    <dgm:cxn modelId="{16C81DC6-18A4-451D-918C-7208A156B4F9}" type="presOf" srcId="{2CC82EBA-5F26-4A61-B817-E5B3852C10D3}" destId="{A98A07C7-C9F6-4D61-B649-37571E33F450}" srcOrd="0" destOrd="0" presId="urn:microsoft.com/office/officeart/2016/7/layout/LinearBlockProcessNumbered"/>
    <dgm:cxn modelId="{E44AF6D2-DB72-4A72-BB0A-9B94B7C04F21}" srcId="{C2B8E682-CE78-4203-A178-E6008765BC52}" destId="{18D6E95F-5808-464E-8B7A-C77D64A7257C}" srcOrd="0" destOrd="0" parTransId="{BCF31368-06EA-4F13-8CB2-184BB84A2253}" sibTransId="{A2EAD9B3-2EE8-43D7-AB5C-22FCD9D7EED4}"/>
    <dgm:cxn modelId="{FE8825D4-8544-48C1-9440-9523A32BE971}" type="presOf" srcId="{3427ED3D-138D-45E7-9B89-A928F0929A53}" destId="{487BC409-8B1A-4E1F-B70F-75FC1F92F718}" srcOrd="1" destOrd="0" presId="urn:microsoft.com/office/officeart/2016/7/layout/LinearBlockProcessNumbered"/>
    <dgm:cxn modelId="{248B0AEA-3AC7-4164-B02A-926F04E3C05F}" type="presOf" srcId="{18D6E95F-5808-464E-8B7A-C77D64A7257C}" destId="{03C63C21-2077-4D2B-9D35-BE93B388B5CC}" srcOrd="0" destOrd="0" presId="urn:microsoft.com/office/officeart/2016/7/layout/LinearBlockProcessNumbered"/>
    <dgm:cxn modelId="{0336F9EA-4712-404C-9EE2-D903A78AE18E}" type="presOf" srcId="{18D6E95F-5808-464E-8B7A-C77D64A7257C}" destId="{5253B57C-8976-463F-98DC-C5264FB77B27}" srcOrd="1" destOrd="0" presId="urn:microsoft.com/office/officeart/2016/7/layout/LinearBlockProcessNumbered"/>
    <dgm:cxn modelId="{8D0F95A6-90A0-4CDA-B01E-CC73119CF706}" type="presParOf" srcId="{98B83E53-6624-4D87-AC5E-594A5388FE58}" destId="{55001D63-DF9F-405C-A58C-F6EF6936B210}" srcOrd="0" destOrd="0" presId="urn:microsoft.com/office/officeart/2016/7/layout/LinearBlockProcessNumbered"/>
    <dgm:cxn modelId="{DDD057DA-83BB-439F-92C0-F19A879096AE}" type="presParOf" srcId="{55001D63-DF9F-405C-A58C-F6EF6936B210}" destId="{03C63C21-2077-4D2B-9D35-BE93B388B5CC}" srcOrd="0" destOrd="0" presId="urn:microsoft.com/office/officeart/2016/7/layout/LinearBlockProcessNumbered"/>
    <dgm:cxn modelId="{AA8479A9-7DFA-4562-9D76-058DD0097F7A}" type="presParOf" srcId="{55001D63-DF9F-405C-A58C-F6EF6936B210}" destId="{1202D765-D302-4E74-A2B8-20E60CE5A293}" srcOrd="1" destOrd="0" presId="urn:microsoft.com/office/officeart/2016/7/layout/LinearBlockProcessNumbered"/>
    <dgm:cxn modelId="{376E79FC-47D0-4AE4-AEB3-9C60B5217D5C}" type="presParOf" srcId="{55001D63-DF9F-405C-A58C-F6EF6936B210}" destId="{5253B57C-8976-463F-98DC-C5264FB77B27}" srcOrd="2" destOrd="0" presId="urn:microsoft.com/office/officeart/2016/7/layout/LinearBlockProcessNumbered"/>
    <dgm:cxn modelId="{6A1EE361-CE24-4B83-9A03-26A4929B5130}" type="presParOf" srcId="{98B83E53-6624-4D87-AC5E-594A5388FE58}" destId="{B705839C-A2E8-4178-AC9B-BF0755DC7B73}" srcOrd="1" destOrd="0" presId="urn:microsoft.com/office/officeart/2016/7/layout/LinearBlockProcessNumbered"/>
    <dgm:cxn modelId="{DB782FA8-31D6-4F43-A654-6A9211FA18CB}" type="presParOf" srcId="{98B83E53-6624-4D87-AC5E-594A5388FE58}" destId="{DC43C4D6-BD12-48CA-A377-A724A9AAAC83}" srcOrd="2" destOrd="0" presId="urn:microsoft.com/office/officeart/2016/7/layout/LinearBlockProcessNumbered"/>
    <dgm:cxn modelId="{4EF0C0C5-AC78-4EA2-A090-13BF1CF45E11}" type="presParOf" srcId="{DC43C4D6-BD12-48CA-A377-A724A9AAAC83}" destId="{3F30D49C-76BF-4183-9B91-6C97220BA2AA}" srcOrd="0" destOrd="0" presId="urn:microsoft.com/office/officeart/2016/7/layout/LinearBlockProcessNumbered"/>
    <dgm:cxn modelId="{AD50397F-9145-46AA-BF18-FDAA316D974E}" type="presParOf" srcId="{DC43C4D6-BD12-48CA-A377-A724A9AAAC83}" destId="{C6312857-B7CF-4539-B7E4-AECF04369EAA}" srcOrd="1" destOrd="0" presId="urn:microsoft.com/office/officeart/2016/7/layout/LinearBlockProcessNumbered"/>
    <dgm:cxn modelId="{38929B75-B9E5-492E-8234-1BF38B324A86}" type="presParOf" srcId="{DC43C4D6-BD12-48CA-A377-A724A9AAAC83}" destId="{75A4809D-0B1C-49FE-9BFC-0A989A0D2E7F}" srcOrd="2" destOrd="0" presId="urn:microsoft.com/office/officeart/2016/7/layout/LinearBlockProcessNumbered"/>
    <dgm:cxn modelId="{010F98B6-F490-4AA4-82B3-7DAE74D73FC1}" type="presParOf" srcId="{98B83E53-6624-4D87-AC5E-594A5388FE58}" destId="{E3120E86-E841-416C-A88F-1C47FAFEAB83}" srcOrd="3" destOrd="0" presId="urn:microsoft.com/office/officeart/2016/7/layout/LinearBlockProcessNumbered"/>
    <dgm:cxn modelId="{207994FD-57FB-46E5-9B7E-6CC6DF5F4B73}" type="presParOf" srcId="{98B83E53-6624-4D87-AC5E-594A5388FE58}" destId="{97E9DC24-6817-4462-B7AC-C4D24AFA7F54}" srcOrd="4" destOrd="0" presId="urn:microsoft.com/office/officeart/2016/7/layout/LinearBlockProcessNumbered"/>
    <dgm:cxn modelId="{3811A972-AC19-450E-9A31-0FFE9256243C}" type="presParOf" srcId="{97E9DC24-6817-4462-B7AC-C4D24AFA7F54}" destId="{6D26F5A3-92D8-44EC-A766-54410919774A}" srcOrd="0" destOrd="0" presId="urn:microsoft.com/office/officeart/2016/7/layout/LinearBlockProcessNumbered"/>
    <dgm:cxn modelId="{37F99560-8C98-4D9A-AAB3-22C4B1EA837C}" type="presParOf" srcId="{97E9DC24-6817-4462-B7AC-C4D24AFA7F54}" destId="{EE98CC14-1250-48C3-8B99-8A18E9D8A738}" srcOrd="1" destOrd="0" presId="urn:microsoft.com/office/officeart/2016/7/layout/LinearBlockProcessNumbered"/>
    <dgm:cxn modelId="{9092B091-EDBD-450F-AC45-1D235B167EEA}" type="presParOf" srcId="{97E9DC24-6817-4462-B7AC-C4D24AFA7F54}" destId="{487BC409-8B1A-4E1F-B70F-75FC1F92F718}" srcOrd="2" destOrd="0" presId="urn:microsoft.com/office/officeart/2016/7/layout/LinearBlockProcessNumbered"/>
    <dgm:cxn modelId="{8BED0CB7-E2DF-4D09-BA18-072E4B65C0BE}" type="presParOf" srcId="{98B83E53-6624-4D87-AC5E-594A5388FE58}" destId="{D3A40726-32C3-4AFC-B20A-7DD01C7D25F0}" srcOrd="5" destOrd="0" presId="urn:microsoft.com/office/officeart/2016/7/layout/LinearBlockProcessNumbered"/>
    <dgm:cxn modelId="{CBC1CFE4-AE44-4142-B0DB-B16AD9DE9612}" type="presParOf" srcId="{98B83E53-6624-4D87-AC5E-594A5388FE58}" destId="{88ABAC41-B834-450A-A4F6-CA6EDB1B1B57}" srcOrd="6" destOrd="0" presId="urn:microsoft.com/office/officeart/2016/7/layout/LinearBlockProcessNumbered"/>
    <dgm:cxn modelId="{E48904ED-F7E0-46AF-93DA-DAF42EFAD430}" type="presParOf" srcId="{88ABAC41-B834-450A-A4F6-CA6EDB1B1B57}" destId="{BA1C8A48-89B9-4090-86F1-E32F76179EAC}" srcOrd="0" destOrd="0" presId="urn:microsoft.com/office/officeart/2016/7/layout/LinearBlockProcessNumbered"/>
    <dgm:cxn modelId="{F439C2E6-05AE-4C41-8CD1-920DA4EFA97A}" type="presParOf" srcId="{88ABAC41-B834-450A-A4F6-CA6EDB1B1B57}" destId="{A98A07C7-C9F6-4D61-B649-37571E33F450}" srcOrd="1" destOrd="0" presId="urn:microsoft.com/office/officeart/2016/7/layout/LinearBlockProcessNumbered"/>
    <dgm:cxn modelId="{2F0D06F8-8D5F-4260-999F-E4739EF4002F}" type="presParOf" srcId="{88ABAC41-B834-450A-A4F6-CA6EDB1B1B57}" destId="{6D37E09D-B50A-4644-AF22-AD5CFB1FDFEB}" srcOrd="2" destOrd="0" presId="urn:microsoft.com/office/officeart/2016/7/layout/LinearBlock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B0F4BDB-6EAC-4BF0-8F16-19E368A2309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5" csCatId="colorful" phldr="1"/>
      <dgm:spPr/>
      <dgm:t>
        <a:bodyPr/>
        <a:lstStyle/>
        <a:p>
          <a:endParaRPr lang="en-US"/>
        </a:p>
      </dgm:t>
    </dgm:pt>
    <dgm:pt modelId="{E3701E9A-5A40-4BE8-9F1D-2A072C2C73FA}">
      <dgm:prSet/>
      <dgm:spPr/>
      <dgm:t>
        <a:bodyPr/>
        <a:lstStyle/>
        <a:p>
          <a:r>
            <a:rPr lang="fr-FR"/>
            <a:t>Durée d'utilisation : 5 ans =&gt; Taux L = 1/5 * 100 = 20 %</a:t>
          </a:r>
          <a:endParaRPr lang="en-US"/>
        </a:p>
      </dgm:t>
    </dgm:pt>
    <dgm:pt modelId="{2B1FB182-8062-4D5F-9B16-A8313941E4A2}" type="parTrans" cxnId="{A377C100-8147-45F1-BC96-E4C65F94C202}">
      <dgm:prSet/>
      <dgm:spPr/>
      <dgm:t>
        <a:bodyPr/>
        <a:lstStyle/>
        <a:p>
          <a:endParaRPr lang="en-US"/>
        </a:p>
      </dgm:t>
    </dgm:pt>
    <dgm:pt modelId="{623093ED-9E71-4BDE-990D-4FFCD3872FEB}" type="sibTrans" cxnId="{A377C100-8147-45F1-BC96-E4C65F94C202}">
      <dgm:prSet/>
      <dgm:spPr/>
      <dgm:t>
        <a:bodyPr/>
        <a:lstStyle/>
        <a:p>
          <a:endParaRPr lang="en-US"/>
        </a:p>
      </dgm:t>
    </dgm:pt>
    <dgm:pt modelId="{5661BA71-AC7F-4718-852B-8E5E63A44CA0}">
      <dgm:prSet/>
      <dgm:spPr/>
      <dgm:t>
        <a:bodyPr/>
        <a:lstStyle/>
        <a:p>
          <a:r>
            <a:rPr lang="fr-FR"/>
            <a:t>Durée d'utilisation : 3 ans =&gt; Taux L = 1/3 * 100 = 33,33 %</a:t>
          </a:r>
          <a:endParaRPr lang="en-US"/>
        </a:p>
      </dgm:t>
    </dgm:pt>
    <dgm:pt modelId="{B3C53603-3A9E-448B-B18C-BC13A0D6AF63}" type="parTrans" cxnId="{A00AF06B-2CAB-4620-B08E-FF867DF321D8}">
      <dgm:prSet/>
      <dgm:spPr/>
      <dgm:t>
        <a:bodyPr/>
        <a:lstStyle/>
        <a:p>
          <a:endParaRPr lang="en-US"/>
        </a:p>
      </dgm:t>
    </dgm:pt>
    <dgm:pt modelId="{46640324-626B-408F-9DE6-F6D66EC48B83}" type="sibTrans" cxnId="{A00AF06B-2CAB-4620-B08E-FF867DF321D8}">
      <dgm:prSet/>
      <dgm:spPr/>
      <dgm:t>
        <a:bodyPr/>
        <a:lstStyle/>
        <a:p>
          <a:endParaRPr lang="en-US"/>
        </a:p>
      </dgm:t>
    </dgm:pt>
    <dgm:pt modelId="{88F20214-1823-4620-9019-9A5B645EDE0A}" type="pres">
      <dgm:prSet presAssocID="{FB0F4BDB-6EAC-4BF0-8F16-19E368A23093}" presName="root" presStyleCnt="0">
        <dgm:presLayoutVars>
          <dgm:dir/>
          <dgm:resizeHandles val="exact"/>
        </dgm:presLayoutVars>
      </dgm:prSet>
      <dgm:spPr/>
    </dgm:pt>
    <dgm:pt modelId="{DA78D09B-D615-460E-AC5A-31BE1D888255}" type="pres">
      <dgm:prSet presAssocID="{E3701E9A-5A40-4BE8-9F1D-2A072C2C73FA}" presName="compNode" presStyleCnt="0"/>
      <dgm:spPr/>
    </dgm:pt>
    <dgm:pt modelId="{647D69E7-021A-4A67-92C7-AD1E833171FE}" type="pres">
      <dgm:prSet presAssocID="{E3701E9A-5A40-4BE8-9F1D-2A072C2C73FA}" presName="bgRect" presStyleLbl="bgShp" presStyleIdx="0" presStyleCnt="2"/>
      <dgm:spPr/>
    </dgm:pt>
    <dgm:pt modelId="{EF82CEC7-18D7-405D-B916-6ADD1EC207EF}" type="pres">
      <dgm:prSet presAssocID="{E3701E9A-5A40-4BE8-9F1D-2A072C2C73FA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ation with Pie Chart"/>
        </a:ext>
      </dgm:extLst>
    </dgm:pt>
    <dgm:pt modelId="{F4028121-77A2-415D-8880-DD56CC055B64}" type="pres">
      <dgm:prSet presAssocID="{E3701E9A-5A40-4BE8-9F1D-2A072C2C73FA}" presName="spaceRect" presStyleCnt="0"/>
      <dgm:spPr/>
    </dgm:pt>
    <dgm:pt modelId="{5B2479B5-DB52-4112-8886-79BD32D75C4B}" type="pres">
      <dgm:prSet presAssocID="{E3701E9A-5A40-4BE8-9F1D-2A072C2C73FA}" presName="parTx" presStyleLbl="revTx" presStyleIdx="0" presStyleCnt="2">
        <dgm:presLayoutVars>
          <dgm:chMax val="0"/>
          <dgm:chPref val="0"/>
        </dgm:presLayoutVars>
      </dgm:prSet>
      <dgm:spPr/>
    </dgm:pt>
    <dgm:pt modelId="{65778FFE-A4E0-41DA-839A-F0C74A10DF6B}" type="pres">
      <dgm:prSet presAssocID="{623093ED-9E71-4BDE-990D-4FFCD3872FEB}" presName="sibTrans" presStyleCnt="0"/>
      <dgm:spPr/>
    </dgm:pt>
    <dgm:pt modelId="{1B0FD19B-52BB-457C-B2D0-44DB7F9CB1A8}" type="pres">
      <dgm:prSet presAssocID="{5661BA71-AC7F-4718-852B-8E5E63A44CA0}" presName="compNode" presStyleCnt="0"/>
      <dgm:spPr/>
    </dgm:pt>
    <dgm:pt modelId="{8003C46B-EB75-4221-B46C-9C3834CA23EE}" type="pres">
      <dgm:prSet presAssocID="{5661BA71-AC7F-4718-852B-8E5E63A44CA0}" presName="bgRect" presStyleLbl="bgShp" presStyleIdx="1" presStyleCnt="2"/>
      <dgm:spPr/>
    </dgm:pt>
    <dgm:pt modelId="{64A141A6-4BD0-43A5-8A5A-007179016E4B}" type="pres">
      <dgm:prSet presAssocID="{5661BA71-AC7F-4718-852B-8E5E63A44CA0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thématiques"/>
        </a:ext>
      </dgm:extLst>
    </dgm:pt>
    <dgm:pt modelId="{A41FD445-5747-4B94-962C-F0169700E94B}" type="pres">
      <dgm:prSet presAssocID="{5661BA71-AC7F-4718-852B-8E5E63A44CA0}" presName="spaceRect" presStyleCnt="0"/>
      <dgm:spPr/>
    </dgm:pt>
    <dgm:pt modelId="{61C1AC61-540D-48CE-9752-0F89EAD865F7}" type="pres">
      <dgm:prSet presAssocID="{5661BA71-AC7F-4718-852B-8E5E63A44CA0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A377C100-8147-45F1-BC96-E4C65F94C202}" srcId="{FB0F4BDB-6EAC-4BF0-8F16-19E368A23093}" destId="{E3701E9A-5A40-4BE8-9F1D-2A072C2C73FA}" srcOrd="0" destOrd="0" parTransId="{2B1FB182-8062-4D5F-9B16-A8313941E4A2}" sibTransId="{623093ED-9E71-4BDE-990D-4FFCD3872FEB}"/>
    <dgm:cxn modelId="{A00AF06B-2CAB-4620-B08E-FF867DF321D8}" srcId="{FB0F4BDB-6EAC-4BF0-8F16-19E368A23093}" destId="{5661BA71-AC7F-4718-852B-8E5E63A44CA0}" srcOrd="1" destOrd="0" parTransId="{B3C53603-3A9E-448B-B18C-BC13A0D6AF63}" sibTransId="{46640324-626B-408F-9DE6-F6D66EC48B83}"/>
    <dgm:cxn modelId="{F230AC6E-82B3-49DB-8B21-7A3D1C18058B}" type="presOf" srcId="{5661BA71-AC7F-4718-852B-8E5E63A44CA0}" destId="{61C1AC61-540D-48CE-9752-0F89EAD865F7}" srcOrd="0" destOrd="0" presId="urn:microsoft.com/office/officeart/2018/2/layout/IconVerticalSolidList"/>
    <dgm:cxn modelId="{1B7B5F82-3299-42BD-B6CF-769DC3ED3746}" type="presOf" srcId="{FB0F4BDB-6EAC-4BF0-8F16-19E368A23093}" destId="{88F20214-1823-4620-9019-9A5B645EDE0A}" srcOrd="0" destOrd="0" presId="urn:microsoft.com/office/officeart/2018/2/layout/IconVerticalSolidList"/>
    <dgm:cxn modelId="{FA66AAEA-8276-4FF6-9E22-B3A59F556B7F}" type="presOf" srcId="{E3701E9A-5A40-4BE8-9F1D-2A072C2C73FA}" destId="{5B2479B5-DB52-4112-8886-79BD32D75C4B}" srcOrd="0" destOrd="0" presId="urn:microsoft.com/office/officeart/2018/2/layout/IconVerticalSolidList"/>
    <dgm:cxn modelId="{50FE1B99-1A0D-4AAD-B61F-4A313768A46F}" type="presParOf" srcId="{88F20214-1823-4620-9019-9A5B645EDE0A}" destId="{DA78D09B-D615-460E-AC5A-31BE1D888255}" srcOrd="0" destOrd="0" presId="urn:microsoft.com/office/officeart/2018/2/layout/IconVerticalSolidList"/>
    <dgm:cxn modelId="{07E68490-662D-498B-B256-AE479BBB0CA9}" type="presParOf" srcId="{DA78D09B-D615-460E-AC5A-31BE1D888255}" destId="{647D69E7-021A-4A67-92C7-AD1E833171FE}" srcOrd="0" destOrd="0" presId="urn:microsoft.com/office/officeart/2018/2/layout/IconVerticalSolidList"/>
    <dgm:cxn modelId="{0423C3FE-E313-4940-AD17-792D090CEC2C}" type="presParOf" srcId="{DA78D09B-D615-460E-AC5A-31BE1D888255}" destId="{EF82CEC7-18D7-405D-B916-6ADD1EC207EF}" srcOrd="1" destOrd="0" presId="urn:microsoft.com/office/officeart/2018/2/layout/IconVerticalSolidList"/>
    <dgm:cxn modelId="{6E79121E-EE6B-4F8F-900E-4A7E378D33CB}" type="presParOf" srcId="{DA78D09B-D615-460E-AC5A-31BE1D888255}" destId="{F4028121-77A2-415D-8880-DD56CC055B64}" srcOrd="2" destOrd="0" presId="urn:microsoft.com/office/officeart/2018/2/layout/IconVerticalSolidList"/>
    <dgm:cxn modelId="{4A5DF96E-B4BD-436F-8093-19006FF1533D}" type="presParOf" srcId="{DA78D09B-D615-460E-AC5A-31BE1D888255}" destId="{5B2479B5-DB52-4112-8886-79BD32D75C4B}" srcOrd="3" destOrd="0" presId="urn:microsoft.com/office/officeart/2018/2/layout/IconVerticalSolidList"/>
    <dgm:cxn modelId="{765FC9F6-7AC3-4738-8FBB-05AB34F89563}" type="presParOf" srcId="{88F20214-1823-4620-9019-9A5B645EDE0A}" destId="{65778FFE-A4E0-41DA-839A-F0C74A10DF6B}" srcOrd="1" destOrd="0" presId="urn:microsoft.com/office/officeart/2018/2/layout/IconVerticalSolidList"/>
    <dgm:cxn modelId="{B701E9F1-E94B-4658-8D1A-236E3BB61FA9}" type="presParOf" srcId="{88F20214-1823-4620-9019-9A5B645EDE0A}" destId="{1B0FD19B-52BB-457C-B2D0-44DB7F9CB1A8}" srcOrd="2" destOrd="0" presId="urn:microsoft.com/office/officeart/2018/2/layout/IconVerticalSolidList"/>
    <dgm:cxn modelId="{62B412F7-3DE3-4D8C-BCAE-DB9FBF60398B}" type="presParOf" srcId="{1B0FD19B-52BB-457C-B2D0-44DB7F9CB1A8}" destId="{8003C46B-EB75-4221-B46C-9C3834CA23EE}" srcOrd="0" destOrd="0" presId="urn:microsoft.com/office/officeart/2018/2/layout/IconVerticalSolidList"/>
    <dgm:cxn modelId="{AC3F0619-1427-402D-B2B5-F5EA8546BCA4}" type="presParOf" srcId="{1B0FD19B-52BB-457C-B2D0-44DB7F9CB1A8}" destId="{64A141A6-4BD0-43A5-8A5A-007179016E4B}" srcOrd="1" destOrd="0" presId="urn:microsoft.com/office/officeart/2018/2/layout/IconVerticalSolidList"/>
    <dgm:cxn modelId="{306CBB22-91DF-4554-89EE-F828F1B7A70A}" type="presParOf" srcId="{1B0FD19B-52BB-457C-B2D0-44DB7F9CB1A8}" destId="{A41FD445-5747-4B94-962C-F0169700E94B}" srcOrd="2" destOrd="0" presId="urn:microsoft.com/office/officeart/2018/2/layout/IconVerticalSolidList"/>
    <dgm:cxn modelId="{198B5203-D6DA-4687-9D18-8EC0DDABEABD}" type="presParOf" srcId="{1B0FD19B-52BB-457C-B2D0-44DB7F9CB1A8}" destId="{61C1AC61-540D-48CE-9752-0F89EAD865F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BCB0662-20AC-453F-A1EA-D432EE5890CA}" type="doc">
      <dgm:prSet loTypeId="urn:microsoft.com/office/officeart/2008/layout/Lin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75C527B-0095-4708-8413-CD94D80B64EB}">
      <dgm:prSet custT="1"/>
      <dgm:spPr/>
      <dgm:t>
        <a:bodyPr/>
        <a:lstStyle/>
        <a:p>
          <a:r>
            <a:rPr lang="fr-FR" sz="1800" dirty="0"/>
            <a:t>Avant de construire le plan d'amortissement de l'immobilisation proprement dit, il est nécessaire d'effectuer des calculs préalables.</a:t>
          </a:r>
          <a:endParaRPr lang="en-US" sz="1800" dirty="0"/>
        </a:p>
      </dgm:t>
    </dgm:pt>
    <dgm:pt modelId="{2A55F883-EE34-477E-92E8-E5057D105F69}" type="parTrans" cxnId="{D548B7E8-BD6D-442E-9751-019FEAB30D1B}">
      <dgm:prSet/>
      <dgm:spPr/>
      <dgm:t>
        <a:bodyPr/>
        <a:lstStyle/>
        <a:p>
          <a:endParaRPr lang="en-US"/>
        </a:p>
      </dgm:t>
    </dgm:pt>
    <dgm:pt modelId="{2D0B3069-4A6B-4495-9893-7ABCDCE9054F}" type="sibTrans" cxnId="{D548B7E8-BD6D-442E-9751-019FEAB30D1B}">
      <dgm:prSet/>
      <dgm:spPr/>
      <dgm:t>
        <a:bodyPr/>
        <a:lstStyle/>
        <a:p>
          <a:endParaRPr lang="en-US"/>
        </a:p>
      </dgm:t>
    </dgm:pt>
    <dgm:pt modelId="{595DCF90-0F44-4CB5-AD31-60E7A140D562}">
      <dgm:prSet custT="1"/>
      <dgm:spPr/>
      <dgm:t>
        <a:bodyPr/>
        <a:lstStyle/>
        <a:p>
          <a:r>
            <a:rPr lang="fr-FR" sz="1800" dirty="0"/>
            <a:t>La première annuité d’amortissement  est calculée </a:t>
          </a:r>
          <a:r>
            <a:rPr lang="fr-FR" sz="1800" b="1" dirty="0"/>
            <a:t>prorata-</a:t>
          </a:r>
          <a:r>
            <a:rPr lang="fr-FR" sz="1800" b="1" dirty="0" err="1"/>
            <a:t>temporis</a:t>
          </a:r>
          <a:r>
            <a:rPr lang="fr-FR" sz="1800" b="1" dirty="0"/>
            <a:t> </a:t>
          </a:r>
          <a:r>
            <a:rPr lang="fr-FR" sz="1800" dirty="0"/>
            <a:t>(en fonction du temps), </a:t>
          </a:r>
          <a:r>
            <a:rPr lang="fr-FR" sz="1800" b="1" dirty="0"/>
            <a:t>en jours</a:t>
          </a:r>
          <a:r>
            <a:rPr lang="fr-FR" sz="1800" dirty="0"/>
            <a:t>, entre la date de livraison (ou de mise en service) et la date d’inventaire.</a:t>
          </a:r>
          <a:endParaRPr lang="en-US" sz="1800" dirty="0"/>
        </a:p>
      </dgm:t>
    </dgm:pt>
    <dgm:pt modelId="{679992DE-8A6B-4750-9C6D-D18650990EEC}" type="parTrans" cxnId="{59D6BE42-4902-47D3-A525-8D58827F7243}">
      <dgm:prSet/>
      <dgm:spPr/>
      <dgm:t>
        <a:bodyPr/>
        <a:lstStyle/>
        <a:p>
          <a:endParaRPr lang="en-US"/>
        </a:p>
      </dgm:t>
    </dgm:pt>
    <dgm:pt modelId="{45FFD234-4F77-4DCF-B70C-0320BC48C91E}" type="sibTrans" cxnId="{59D6BE42-4902-47D3-A525-8D58827F7243}">
      <dgm:prSet/>
      <dgm:spPr/>
      <dgm:t>
        <a:bodyPr/>
        <a:lstStyle/>
        <a:p>
          <a:endParaRPr lang="en-US"/>
        </a:p>
      </dgm:t>
    </dgm:pt>
    <dgm:pt modelId="{9B5CC8A0-727B-4090-9AAC-FF546C1B12E6}">
      <dgm:prSet custT="1"/>
      <dgm:spPr/>
      <dgm:t>
        <a:bodyPr/>
        <a:lstStyle/>
        <a:p>
          <a:r>
            <a:rPr lang="fr-FR" sz="1800" dirty="0"/>
            <a:t>Par simplification :</a:t>
          </a:r>
          <a:endParaRPr lang="en-US" sz="1800" dirty="0"/>
        </a:p>
      </dgm:t>
    </dgm:pt>
    <dgm:pt modelId="{1F7F63AB-1A2D-4327-A9AF-09C7097D5D4E}" type="parTrans" cxnId="{D7838F67-E286-4A19-B428-6D1FC27D7CCA}">
      <dgm:prSet/>
      <dgm:spPr/>
      <dgm:t>
        <a:bodyPr/>
        <a:lstStyle/>
        <a:p>
          <a:endParaRPr lang="en-US"/>
        </a:p>
      </dgm:t>
    </dgm:pt>
    <dgm:pt modelId="{1CD3414F-3929-4368-9548-9405CA727E28}" type="sibTrans" cxnId="{D7838F67-E286-4A19-B428-6D1FC27D7CCA}">
      <dgm:prSet/>
      <dgm:spPr/>
      <dgm:t>
        <a:bodyPr/>
        <a:lstStyle/>
        <a:p>
          <a:endParaRPr lang="en-US"/>
        </a:p>
      </dgm:t>
    </dgm:pt>
    <dgm:pt modelId="{83BD79DA-D5C6-457B-AAA5-7173CE363798}">
      <dgm:prSet custT="1"/>
      <dgm:spPr/>
      <dgm:t>
        <a:bodyPr/>
        <a:lstStyle/>
        <a:p>
          <a:r>
            <a:rPr lang="fr-FR" sz="1800" dirty="0"/>
            <a:t>- la durée d'un exercice = 12 mois * 30 jours = 360 	jours ;</a:t>
          </a:r>
          <a:endParaRPr lang="en-US" sz="1800" dirty="0"/>
        </a:p>
      </dgm:t>
    </dgm:pt>
    <dgm:pt modelId="{D95AAD9F-22E3-4171-A8BA-B48AFE32B442}" type="parTrans" cxnId="{3F9598FA-08FE-4597-9AC8-99FB387299BB}">
      <dgm:prSet/>
      <dgm:spPr/>
      <dgm:t>
        <a:bodyPr/>
        <a:lstStyle/>
        <a:p>
          <a:endParaRPr lang="en-US"/>
        </a:p>
      </dgm:t>
    </dgm:pt>
    <dgm:pt modelId="{A16F1361-AB00-461E-8268-F81A7E162FB6}" type="sibTrans" cxnId="{3F9598FA-08FE-4597-9AC8-99FB387299BB}">
      <dgm:prSet/>
      <dgm:spPr/>
      <dgm:t>
        <a:bodyPr/>
        <a:lstStyle/>
        <a:p>
          <a:endParaRPr lang="en-US"/>
        </a:p>
      </dgm:t>
    </dgm:pt>
    <dgm:pt modelId="{3CD563AF-E496-4A53-8248-4C85CE5E7120}">
      <dgm:prSet custT="1"/>
      <dgm:spPr/>
      <dgm:t>
        <a:bodyPr/>
        <a:lstStyle/>
        <a:p>
          <a:r>
            <a:rPr lang="fr-FR" sz="1800" dirty="0"/>
            <a:t>- chaque mois est compté pour 30 jours,</a:t>
          </a:r>
          <a:endParaRPr lang="en-US" sz="1800" dirty="0"/>
        </a:p>
      </dgm:t>
    </dgm:pt>
    <dgm:pt modelId="{9C4F1CE4-6704-41A6-BF4D-2605970A44EE}" type="parTrans" cxnId="{5536C37C-EE7D-47F6-ADA0-FEB826B4FB4B}">
      <dgm:prSet/>
      <dgm:spPr/>
      <dgm:t>
        <a:bodyPr/>
        <a:lstStyle/>
        <a:p>
          <a:endParaRPr lang="en-US"/>
        </a:p>
      </dgm:t>
    </dgm:pt>
    <dgm:pt modelId="{5318222F-65C3-4EDC-9415-03A60D96635C}" type="sibTrans" cxnId="{5536C37C-EE7D-47F6-ADA0-FEB826B4FB4B}">
      <dgm:prSet/>
      <dgm:spPr/>
      <dgm:t>
        <a:bodyPr/>
        <a:lstStyle/>
        <a:p>
          <a:endParaRPr lang="en-US"/>
        </a:p>
      </dgm:t>
    </dgm:pt>
    <dgm:pt modelId="{BE4ECB25-A1A7-437E-814B-A504248F28EF}" type="pres">
      <dgm:prSet presAssocID="{1BCB0662-20AC-453F-A1EA-D432EE5890CA}" presName="vert0" presStyleCnt="0">
        <dgm:presLayoutVars>
          <dgm:dir/>
          <dgm:animOne val="branch"/>
          <dgm:animLvl val="lvl"/>
        </dgm:presLayoutVars>
      </dgm:prSet>
      <dgm:spPr/>
    </dgm:pt>
    <dgm:pt modelId="{827004D2-B5AD-4AD2-A58F-5E3508E33CC5}" type="pres">
      <dgm:prSet presAssocID="{275C527B-0095-4708-8413-CD94D80B64EB}" presName="thickLine" presStyleLbl="alignNode1" presStyleIdx="0" presStyleCnt="5"/>
      <dgm:spPr/>
    </dgm:pt>
    <dgm:pt modelId="{25007FCF-97E3-4720-AA6C-CFF65CA17905}" type="pres">
      <dgm:prSet presAssocID="{275C527B-0095-4708-8413-CD94D80B64EB}" presName="horz1" presStyleCnt="0"/>
      <dgm:spPr/>
    </dgm:pt>
    <dgm:pt modelId="{AD0E17BD-A27B-4448-8CB7-7C4F441EE2F2}" type="pres">
      <dgm:prSet presAssocID="{275C527B-0095-4708-8413-CD94D80B64EB}" presName="tx1" presStyleLbl="revTx" presStyleIdx="0" presStyleCnt="5" custScaleY="187686" custLinFactNeighborX="98" custLinFactNeighborY="-82398"/>
      <dgm:spPr/>
    </dgm:pt>
    <dgm:pt modelId="{09FABF4E-C777-4DA0-A279-0C3D7DA6F604}" type="pres">
      <dgm:prSet presAssocID="{275C527B-0095-4708-8413-CD94D80B64EB}" presName="vert1" presStyleCnt="0"/>
      <dgm:spPr/>
    </dgm:pt>
    <dgm:pt modelId="{B59D0DE6-9F36-4261-9410-115BD3BFE169}" type="pres">
      <dgm:prSet presAssocID="{595DCF90-0F44-4CB5-AD31-60E7A140D562}" presName="thickLine" presStyleLbl="alignNode1" presStyleIdx="1" presStyleCnt="5"/>
      <dgm:spPr/>
    </dgm:pt>
    <dgm:pt modelId="{7C74F5D8-0B52-48ED-A166-EF94A7FF2EC4}" type="pres">
      <dgm:prSet presAssocID="{595DCF90-0F44-4CB5-AD31-60E7A140D562}" presName="horz1" presStyleCnt="0"/>
      <dgm:spPr/>
    </dgm:pt>
    <dgm:pt modelId="{9B58B88C-A61B-49CF-BA8F-E40EB303E514}" type="pres">
      <dgm:prSet presAssocID="{595DCF90-0F44-4CB5-AD31-60E7A140D562}" presName="tx1" presStyleLbl="revTx" presStyleIdx="1" presStyleCnt="5" custScaleY="187686"/>
      <dgm:spPr/>
    </dgm:pt>
    <dgm:pt modelId="{AE0C53A8-D569-43CF-87C6-2ED5001BA81A}" type="pres">
      <dgm:prSet presAssocID="{595DCF90-0F44-4CB5-AD31-60E7A140D562}" presName="vert1" presStyleCnt="0"/>
      <dgm:spPr/>
    </dgm:pt>
    <dgm:pt modelId="{3ADF82BE-169E-4353-9926-2ECCA54B5FC8}" type="pres">
      <dgm:prSet presAssocID="{9B5CC8A0-727B-4090-9AAC-FF546C1B12E6}" presName="thickLine" presStyleLbl="alignNode1" presStyleIdx="2" presStyleCnt="5"/>
      <dgm:spPr/>
    </dgm:pt>
    <dgm:pt modelId="{C44944AE-C3CF-4EEB-AFBA-0140702B9B39}" type="pres">
      <dgm:prSet presAssocID="{9B5CC8A0-727B-4090-9AAC-FF546C1B12E6}" presName="horz1" presStyleCnt="0"/>
      <dgm:spPr/>
    </dgm:pt>
    <dgm:pt modelId="{A828B766-7DD3-4097-9EB7-70752FED7769}" type="pres">
      <dgm:prSet presAssocID="{9B5CC8A0-727B-4090-9AAC-FF546C1B12E6}" presName="tx1" presStyleLbl="revTx" presStyleIdx="2" presStyleCnt="5" custScaleY="187686"/>
      <dgm:spPr/>
    </dgm:pt>
    <dgm:pt modelId="{46F1C7BB-979B-4F98-9FA7-2DF6A3C58133}" type="pres">
      <dgm:prSet presAssocID="{9B5CC8A0-727B-4090-9AAC-FF546C1B12E6}" presName="vert1" presStyleCnt="0"/>
      <dgm:spPr/>
    </dgm:pt>
    <dgm:pt modelId="{E55214DC-4FA9-464E-8F83-5750D83DBCA9}" type="pres">
      <dgm:prSet presAssocID="{83BD79DA-D5C6-457B-AAA5-7173CE363798}" presName="thickLine" presStyleLbl="alignNode1" presStyleIdx="3" presStyleCnt="5"/>
      <dgm:spPr/>
    </dgm:pt>
    <dgm:pt modelId="{297DD409-C327-4416-9C1B-230205B16640}" type="pres">
      <dgm:prSet presAssocID="{83BD79DA-D5C6-457B-AAA5-7173CE363798}" presName="horz1" presStyleCnt="0"/>
      <dgm:spPr/>
    </dgm:pt>
    <dgm:pt modelId="{9B129D94-9F18-45B1-AAE9-B9300C856024}" type="pres">
      <dgm:prSet presAssocID="{83BD79DA-D5C6-457B-AAA5-7173CE363798}" presName="tx1" presStyleLbl="revTx" presStyleIdx="3" presStyleCnt="5" custScaleY="187686"/>
      <dgm:spPr/>
    </dgm:pt>
    <dgm:pt modelId="{2F8EE62F-9070-41DC-9C13-A34B8F346035}" type="pres">
      <dgm:prSet presAssocID="{83BD79DA-D5C6-457B-AAA5-7173CE363798}" presName="vert1" presStyleCnt="0"/>
      <dgm:spPr/>
    </dgm:pt>
    <dgm:pt modelId="{E45D2ED1-E6FB-4815-9029-01B5E1471840}" type="pres">
      <dgm:prSet presAssocID="{3CD563AF-E496-4A53-8248-4C85CE5E7120}" presName="thickLine" presStyleLbl="alignNode1" presStyleIdx="4" presStyleCnt="5"/>
      <dgm:spPr/>
    </dgm:pt>
    <dgm:pt modelId="{361E26D8-EBCB-4BEB-8D33-16079AE2162F}" type="pres">
      <dgm:prSet presAssocID="{3CD563AF-E496-4A53-8248-4C85CE5E7120}" presName="horz1" presStyleCnt="0"/>
      <dgm:spPr/>
    </dgm:pt>
    <dgm:pt modelId="{96DB567F-6AF1-4BB0-BB20-D7329F8333C1}" type="pres">
      <dgm:prSet presAssocID="{3CD563AF-E496-4A53-8248-4C85CE5E7120}" presName="tx1" presStyleLbl="revTx" presStyleIdx="4" presStyleCnt="5" custScaleY="187686"/>
      <dgm:spPr/>
    </dgm:pt>
    <dgm:pt modelId="{6621F429-53D4-4440-8EBE-52370C89D176}" type="pres">
      <dgm:prSet presAssocID="{3CD563AF-E496-4A53-8248-4C85CE5E7120}" presName="vert1" presStyleCnt="0"/>
      <dgm:spPr/>
    </dgm:pt>
  </dgm:ptLst>
  <dgm:cxnLst>
    <dgm:cxn modelId="{9A5ADB17-0AC6-40FA-8C58-E0575318D31A}" type="presOf" srcId="{9B5CC8A0-727B-4090-9AAC-FF546C1B12E6}" destId="{A828B766-7DD3-4097-9EB7-70752FED7769}" srcOrd="0" destOrd="0" presId="urn:microsoft.com/office/officeart/2008/layout/LinedList"/>
    <dgm:cxn modelId="{59D6BE42-4902-47D3-A525-8D58827F7243}" srcId="{1BCB0662-20AC-453F-A1EA-D432EE5890CA}" destId="{595DCF90-0F44-4CB5-AD31-60E7A140D562}" srcOrd="1" destOrd="0" parTransId="{679992DE-8A6B-4750-9C6D-D18650990EEC}" sibTransId="{45FFD234-4F77-4DCF-B70C-0320BC48C91E}"/>
    <dgm:cxn modelId="{D7838F67-E286-4A19-B428-6D1FC27D7CCA}" srcId="{1BCB0662-20AC-453F-A1EA-D432EE5890CA}" destId="{9B5CC8A0-727B-4090-9AAC-FF546C1B12E6}" srcOrd="2" destOrd="0" parTransId="{1F7F63AB-1A2D-4327-A9AF-09C7097D5D4E}" sibTransId="{1CD3414F-3929-4368-9548-9405CA727E28}"/>
    <dgm:cxn modelId="{A2497870-4115-43EF-938E-7757530D667D}" type="presOf" srcId="{1BCB0662-20AC-453F-A1EA-D432EE5890CA}" destId="{BE4ECB25-A1A7-437E-814B-A504248F28EF}" srcOrd="0" destOrd="0" presId="urn:microsoft.com/office/officeart/2008/layout/LinedList"/>
    <dgm:cxn modelId="{5536C37C-EE7D-47F6-ADA0-FEB826B4FB4B}" srcId="{1BCB0662-20AC-453F-A1EA-D432EE5890CA}" destId="{3CD563AF-E496-4A53-8248-4C85CE5E7120}" srcOrd="4" destOrd="0" parTransId="{9C4F1CE4-6704-41A6-BF4D-2605970A44EE}" sibTransId="{5318222F-65C3-4EDC-9415-03A60D96635C}"/>
    <dgm:cxn modelId="{7A4FE887-C83E-49C0-AAAE-678FD20FB7DC}" type="presOf" srcId="{3CD563AF-E496-4A53-8248-4C85CE5E7120}" destId="{96DB567F-6AF1-4BB0-BB20-D7329F8333C1}" srcOrd="0" destOrd="0" presId="urn:microsoft.com/office/officeart/2008/layout/LinedList"/>
    <dgm:cxn modelId="{87850ABC-53D2-4A63-9D1A-C8B9BA784FCE}" type="presOf" srcId="{595DCF90-0F44-4CB5-AD31-60E7A140D562}" destId="{9B58B88C-A61B-49CF-BA8F-E40EB303E514}" srcOrd="0" destOrd="0" presId="urn:microsoft.com/office/officeart/2008/layout/LinedList"/>
    <dgm:cxn modelId="{939EF8CF-24A0-48AA-9514-127F3768186A}" type="presOf" srcId="{275C527B-0095-4708-8413-CD94D80B64EB}" destId="{AD0E17BD-A27B-4448-8CB7-7C4F441EE2F2}" srcOrd="0" destOrd="0" presId="urn:microsoft.com/office/officeart/2008/layout/LinedList"/>
    <dgm:cxn modelId="{A213D0D1-08D4-49B7-8DE9-970AC91F0813}" type="presOf" srcId="{83BD79DA-D5C6-457B-AAA5-7173CE363798}" destId="{9B129D94-9F18-45B1-AAE9-B9300C856024}" srcOrd="0" destOrd="0" presId="urn:microsoft.com/office/officeart/2008/layout/LinedList"/>
    <dgm:cxn modelId="{D548B7E8-BD6D-442E-9751-019FEAB30D1B}" srcId="{1BCB0662-20AC-453F-A1EA-D432EE5890CA}" destId="{275C527B-0095-4708-8413-CD94D80B64EB}" srcOrd="0" destOrd="0" parTransId="{2A55F883-EE34-477E-92E8-E5057D105F69}" sibTransId="{2D0B3069-4A6B-4495-9893-7ABCDCE9054F}"/>
    <dgm:cxn modelId="{3F9598FA-08FE-4597-9AC8-99FB387299BB}" srcId="{1BCB0662-20AC-453F-A1EA-D432EE5890CA}" destId="{83BD79DA-D5C6-457B-AAA5-7173CE363798}" srcOrd="3" destOrd="0" parTransId="{D95AAD9F-22E3-4171-A8BA-B48AFE32B442}" sibTransId="{A16F1361-AB00-461E-8268-F81A7E162FB6}"/>
    <dgm:cxn modelId="{B485133C-10B7-43EF-9F78-9F7C284950ED}" type="presParOf" srcId="{BE4ECB25-A1A7-437E-814B-A504248F28EF}" destId="{827004D2-B5AD-4AD2-A58F-5E3508E33CC5}" srcOrd="0" destOrd="0" presId="urn:microsoft.com/office/officeart/2008/layout/LinedList"/>
    <dgm:cxn modelId="{8818C63D-615E-4982-86DA-9D601CE61FB7}" type="presParOf" srcId="{BE4ECB25-A1A7-437E-814B-A504248F28EF}" destId="{25007FCF-97E3-4720-AA6C-CFF65CA17905}" srcOrd="1" destOrd="0" presId="urn:microsoft.com/office/officeart/2008/layout/LinedList"/>
    <dgm:cxn modelId="{1BE0C868-A228-4BD5-9C0A-663315D14F06}" type="presParOf" srcId="{25007FCF-97E3-4720-AA6C-CFF65CA17905}" destId="{AD0E17BD-A27B-4448-8CB7-7C4F441EE2F2}" srcOrd="0" destOrd="0" presId="urn:microsoft.com/office/officeart/2008/layout/LinedList"/>
    <dgm:cxn modelId="{A49DB238-3FB1-4845-B987-76EACB9D654C}" type="presParOf" srcId="{25007FCF-97E3-4720-AA6C-CFF65CA17905}" destId="{09FABF4E-C777-4DA0-A279-0C3D7DA6F604}" srcOrd="1" destOrd="0" presId="urn:microsoft.com/office/officeart/2008/layout/LinedList"/>
    <dgm:cxn modelId="{2ADC9700-4746-45FB-B46E-D9A8D3CD1843}" type="presParOf" srcId="{BE4ECB25-A1A7-437E-814B-A504248F28EF}" destId="{B59D0DE6-9F36-4261-9410-115BD3BFE169}" srcOrd="2" destOrd="0" presId="urn:microsoft.com/office/officeart/2008/layout/LinedList"/>
    <dgm:cxn modelId="{09B4C7B6-5467-4EC6-A5D2-9636F491A219}" type="presParOf" srcId="{BE4ECB25-A1A7-437E-814B-A504248F28EF}" destId="{7C74F5D8-0B52-48ED-A166-EF94A7FF2EC4}" srcOrd="3" destOrd="0" presId="urn:microsoft.com/office/officeart/2008/layout/LinedList"/>
    <dgm:cxn modelId="{CF95B6AE-6FB2-46E4-8864-45BB045BF4B9}" type="presParOf" srcId="{7C74F5D8-0B52-48ED-A166-EF94A7FF2EC4}" destId="{9B58B88C-A61B-49CF-BA8F-E40EB303E514}" srcOrd="0" destOrd="0" presId="urn:microsoft.com/office/officeart/2008/layout/LinedList"/>
    <dgm:cxn modelId="{CF69426C-DD91-4C96-9804-2AF95E3A2DF6}" type="presParOf" srcId="{7C74F5D8-0B52-48ED-A166-EF94A7FF2EC4}" destId="{AE0C53A8-D569-43CF-87C6-2ED5001BA81A}" srcOrd="1" destOrd="0" presId="urn:microsoft.com/office/officeart/2008/layout/LinedList"/>
    <dgm:cxn modelId="{737064FD-B831-4CF4-A52D-786AD4A19919}" type="presParOf" srcId="{BE4ECB25-A1A7-437E-814B-A504248F28EF}" destId="{3ADF82BE-169E-4353-9926-2ECCA54B5FC8}" srcOrd="4" destOrd="0" presId="urn:microsoft.com/office/officeart/2008/layout/LinedList"/>
    <dgm:cxn modelId="{2531DDD7-BD7D-433F-B1CD-87BA6AEE484C}" type="presParOf" srcId="{BE4ECB25-A1A7-437E-814B-A504248F28EF}" destId="{C44944AE-C3CF-4EEB-AFBA-0140702B9B39}" srcOrd="5" destOrd="0" presId="urn:microsoft.com/office/officeart/2008/layout/LinedList"/>
    <dgm:cxn modelId="{49631D1D-3E75-46CF-ACBC-5131DBBE44C9}" type="presParOf" srcId="{C44944AE-C3CF-4EEB-AFBA-0140702B9B39}" destId="{A828B766-7DD3-4097-9EB7-70752FED7769}" srcOrd="0" destOrd="0" presId="urn:microsoft.com/office/officeart/2008/layout/LinedList"/>
    <dgm:cxn modelId="{F2917E04-FB74-43AE-802D-0B7B821967EF}" type="presParOf" srcId="{C44944AE-C3CF-4EEB-AFBA-0140702B9B39}" destId="{46F1C7BB-979B-4F98-9FA7-2DF6A3C58133}" srcOrd="1" destOrd="0" presId="urn:microsoft.com/office/officeart/2008/layout/LinedList"/>
    <dgm:cxn modelId="{B6D24F4D-A4B5-4B95-8EDE-0CC79CF892D9}" type="presParOf" srcId="{BE4ECB25-A1A7-437E-814B-A504248F28EF}" destId="{E55214DC-4FA9-464E-8F83-5750D83DBCA9}" srcOrd="6" destOrd="0" presId="urn:microsoft.com/office/officeart/2008/layout/LinedList"/>
    <dgm:cxn modelId="{C6FF40AE-F239-4632-99B5-2ECB3B033284}" type="presParOf" srcId="{BE4ECB25-A1A7-437E-814B-A504248F28EF}" destId="{297DD409-C327-4416-9C1B-230205B16640}" srcOrd="7" destOrd="0" presId="urn:microsoft.com/office/officeart/2008/layout/LinedList"/>
    <dgm:cxn modelId="{096E0A26-2B0C-4342-AF71-00F86643B625}" type="presParOf" srcId="{297DD409-C327-4416-9C1B-230205B16640}" destId="{9B129D94-9F18-45B1-AAE9-B9300C856024}" srcOrd="0" destOrd="0" presId="urn:microsoft.com/office/officeart/2008/layout/LinedList"/>
    <dgm:cxn modelId="{3B540610-0428-4A9C-ACB8-B50E3EDFAC81}" type="presParOf" srcId="{297DD409-C327-4416-9C1B-230205B16640}" destId="{2F8EE62F-9070-41DC-9C13-A34B8F346035}" srcOrd="1" destOrd="0" presId="urn:microsoft.com/office/officeart/2008/layout/LinedList"/>
    <dgm:cxn modelId="{91CCC14C-74F2-4F27-972A-4A6FDC538E7B}" type="presParOf" srcId="{BE4ECB25-A1A7-437E-814B-A504248F28EF}" destId="{E45D2ED1-E6FB-4815-9029-01B5E1471840}" srcOrd="8" destOrd="0" presId="urn:microsoft.com/office/officeart/2008/layout/LinedList"/>
    <dgm:cxn modelId="{BCC95BA2-52B2-477F-BED3-0F0DE0220D40}" type="presParOf" srcId="{BE4ECB25-A1A7-437E-814B-A504248F28EF}" destId="{361E26D8-EBCB-4BEB-8D33-16079AE2162F}" srcOrd="9" destOrd="0" presId="urn:microsoft.com/office/officeart/2008/layout/LinedList"/>
    <dgm:cxn modelId="{539B1EB1-BA81-415C-8D36-E670A17D6F8C}" type="presParOf" srcId="{361E26D8-EBCB-4BEB-8D33-16079AE2162F}" destId="{96DB567F-6AF1-4BB0-BB20-D7329F8333C1}" srcOrd="0" destOrd="0" presId="urn:microsoft.com/office/officeart/2008/layout/LinedList"/>
    <dgm:cxn modelId="{AAB9B42E-D433-42BF-B8F4-7F4AC8302103}" type="presParOf" srcId="{361E26D8-EBCB-4BEB-8D33-16079AE2162F}" destId="{6621F429-53D4-4440-8EBE-52370C89D176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02707F-5710-4DD2-95C4-EF9C87667DCE}">
      <dsp:nvSpPr>
        <dsp:cNvPr id="0" name=""/>
        <dsp:cNvSpPr/>
      </dsp:nvSpPr>
      <dsp:spPr>
        <a:xfrm>
          <a:off x="471972" y="1918"/>
          <a:ext cx="3577820" cy="357782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Un amortissement concerne un bien immobilisé</a:t>
          </a:r>
          <a:endParaRPr lang="en-US" sz="3100" kern="1200"/>
        </a:p>
      </dsp:txBody>
      <dsp:txXfrm>
        <a:off x="995932" y="525878"/>
        <a:ext cx="2529900" cy="2529900"/>
      </dsp:txXfrm>
    </dsp:sp>
    <dsp:sp modelId="{197888EE-A767-4819-9B17-96940B82883F}">
      <dsp:nvSpPr>
        <dsp:cNvPr id="0" name=""/>
        <dsp:cNvSpPr/>
      </dsp:nvSpPr>
      <dsp:spPr>
        <a:xfrm rot="5400000">
          <a:off x="4344963" y="1316767"/>
          <a:ext cx="1252237" cy="948122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75F175-041E-446B-8079-B8A71E3409F1}">
      <dsp:nvSpPr>
        <dsp:cNvPr id="0" name=""/>
        <dsp:cNvSpPr/>
      </dsp:nvSpPr>
      <dsp:spPr>
        <a:xfrm>
          <a:off x="5838703" y="1918"/>
          <a:ext cx="3577820" cy="357782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100" kern="1200"/>
            <a:t>Une immobilisation est un élément de l’actif</a:t>
          </a:r>
          <a:endParaRPr lang="en-US" sz="3100" kern="1200"/>
        </a:p>
      </dsp:txBody>
      <dsp:txXfrm>
        <a:off x="6362663" y="525878"/>
        <a:ext cx="2529900" cy="25299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B70F94-CADA-4BB6-BDB2-D7C7B7A83180}">
      <dsp:nvSpPr>
        <dsp:cNvPr id="0" name=""/>
        <dsp:cNvSpPr/>
      </dsp:nvSpPr>
      <dsp:spPr>
        <a:xfrm>
          <a:off x="0" y="9144"/>
          <a:ext cx="7108698" cy="131975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/>
            <a:t>1) On fait un schéma pour connaître exactement le nombre de jours d’amortissement de la première annuité.</a:t>
          </a:r>
          <a:endParaRPr lang="en-US" sz="2400" kern="1200"/>
        </a:p>
      </dsp:txBody>
      <dsp:txXfrm>
        <a:off x="64425" y="73569"/>
        <a:ext cx="6979848" cy="1190909"/>
      </dsp:txXfrm>
    </dsp:sp>
    <dsp:sp modelId="{64038DFE-7540-4B76-A5F0-6FFA1057E49A}">
      <dsp:nvSpPr>
        <dsp:cNvPr id="0" name=""/>
        <dsp:cNvSpPr/>
      </dsp:nvSpPr>
      <dsp:spPr>
        <a:xfrm>
          <a:off x="0" y="1398024"/>
          <a:ext cx="7108698" cy="1319759"/>
        </a:xfrm>
        <a:prstGeom prst="roundRect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/>
            <a:t>2) On calcule la 1</a:t>
          </a:r>
          <a:r>
            <a:rPr lang="fr-FR" sz="2400" kern="1200" baseline="30000"/>
            <a:t>ère</a:t>
          </a:r>
          <a:r>
            <a:rPr lang="fr-FR" sz="2400" kern="1200"/>
            <a:t> annuité et la dernière avant d’établir le plan.</a:t>
          </a:r>
          <a:endParaRPr lang="en-US" sz="2400" kern="1200"/>
        </a:p>
      </dsp:txBody>
      <dsp:txXfrm>
        <a:off x="64425" y="1462449"/>
        <a:ext cx="6979848" cy="1190909"/>
      </dsp:txXfrm>
    </dsp:sp>
    <dsp:sp modelId="{2DEFCB57-C912-4634-AD64-C910F7B1060E}">
      <dsp:nvSpPr>
        <dsp:cNvPr id="0" name=""/>
        <dsp:cNvSpPr/>
      </dsp:nvSpPr>
      <dsp:spPr>
        <a:xfrm>
          <a:off x="0" y="2786904"/>
          <a:ext cx="7108698" cy="1319759"/>
        </a:xfrm>
        <a:prstGeom prst="roundRect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/>
            <a:t>3) On construit le plan (à vide) en indiquant en premier le nombre d’années nécessaires à l’amortissement complet du bien.</a:t>
          </a:r>
          <a:endParaRPr lang="en-US" sz="2400" kern="1200"/>
        </a:p>
      </dsp:txBody>
      <dsp:txXfrm>
        <a:off x="64425" y="2851329"/>
        <a:ext cx="6979848" cy="1190909"/>
      </dsp:txXfrm>
    </dsp:sp>
    <dsp:sp modelId="{0FFB6C5C-4013-467D-A2DB-05EB4A80AFBD}">
      <dsp:nvSpPr>
        <dsp:cNvPr id="0" name=""/>
        <dsp:cNvSpPr/>
      </dsp:nvSpPr>
      <dsp:spPr>
        <a:xfrm>
          <a:off x="0" y="4175784"/>
          <a:ext cx="7108698" cy="1319759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/>
            <a:t>4) On remplit le plan d'amortissement</a:t>
          </a:r>
          <a:endParaRPr lang="en-US" sz="2400" kern="1200"/>
        </a:p>
      </dsp:txBody>
      <dsp:txXfrm>
        <a:off x="64425" y="4240209"/>
        <a:ext cx="6979848" cy="11909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33EF37-CC23-4F9D-860F-EF108038CB48}">
      <dsp:nvSpPr>
        <dsp:cNvPr id="0" name=""/>
        <dsp:cNvSpPr/>
      </dsp:nvSpPr>
      <dsp:spPr>
        <a:xfrm>
          <a:off x="0" y="537777"/>
          <a:ext cx="2980729" cy="18927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9E48AF-F2D6-4C3D-87FB-36B144F9764D}">
      <dsp:nvSpPr>
        <dsp:cNvPr id="0" name=""/>
        <dsp:cNvSpPr/>
      </dsp:nvSpPr>
      <dsp:spPr>
        <a:xfrm>
          <a:off x="331192" y="852409"/>
          <a:ext cx="2980729" cy="18927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/>
            <a:t>Immobilisation incorporelle</a:t>
          </a:r>
          <a:endParaRPr lang="en-US" sz="3000" kern="1200"/>
        </a:p>
      </dsp:txBody>
      <dsp:txXfrm>
        <a:off x="386629" y="907846"/>
        <a:ext cx="2869855" cy="1781889"/>
      </dsp:txXfrm>
    </dsp:sp>
    <dsp:sp modelId="{93E80E5F-4C72-40F3-B0B8-16055048E797}">
      <dsp:nvSpPr>
        <dsp:cNvPr id="0" name=""/>
        <dsp:cNvSpPr/>
      </dsp:nvSpPr>
      <dsp:spPr>
        <a:xfrm>
          <a:off x="3643114" y="537777"/>
          <a:ext cx="2980729" cy="18927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310909-462E-4F28-A612-A5843E3F708B}">
      <dsp:nvSpPr>
        <dsp:cNvPr id="0" name=""/>
        <dsp:cNvSpPr/>
      </dsp:nvSpPr>
      <dsp:spPr>
        <a:xfrm>
          <a:off x="3974306" y="852409"/>
          <a:ext cx="2980729" cy="18927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/>
            <a:t>Immmobilisation corporelle</a:t>
          </a:r>
          <a:endParaRPr lang="en-US" sz="3000" kern="1200"/>
        </a:p>
      </dsp:txBody>
      <dsp:txXfrm>
        <a:off x="4029743" y="907846"/>
        <a:ext cx="2869855" cy="1781889"/>
      </dsp:txXfrm>
    </dsp:sp>
    <dsp:sp modelId="{053C64EB-C4B3-48B2-BA00-683715E0F6B0}">
      <dsp:nvSpPr>
        <dsp:cNvPr id="0" name=""/>
        <dsp:cNvSpPr/>
      </dsp:nvSpPr>
      <dsp:spPr>
        <a:xfrm>
          <a:off x="7286228" y="537777"/>
          <a:ext cx="2980729" cy="18927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FE6BFE-DC18-4CCB-BE0A-4C65A4EE85B2}">
      <dsp:nvSpPr>
        <dsp:cNvPr id="0" name=""/>
        <dsp:cNvSpPr/>
      </dsp:nvSpPr>
      <dsp:spPr>
        <a:xfrm>
          <a:off x="7617420" y="852409"/>
          <a:ext cx="2980729" cy="18927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000" kern="1200"/>
            <a:t>Immobilisation financière</a:t>
          </a:r>
          <a:endParaRPr lang="en-US" sz="3000" kern="1200"/>
        </a:p>
      </dsp:txBody>
      <dsp:txXfrm>
        <a:off x="7672857" y="907846"/>
        <a:ext cx="2869855" cy="178188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2037C4-3824-4DC4-9122-18F8E1145E3E}">
      <dsp:nvSpPr>
        <dsp:cNvPr id="0" name=""/>
        <dsp:cNvSpPr/>
      </dsp:nvSpPr>
      <dsp:spPr>
        <a:xfrm>
          <a:off x="0" y="361364"/>
          <a:ext cx="6620505" cy="14718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b="1" kern="1200"/>
            <a:t>L’usure,</a:t>
          </a:r>
          <a:r>
            <a:rPr lang="fr-FR" sz="3700" kern="1200"/>
            <a:t> malgré les travaux d’entretien ou la non-utilisation.</a:t>
          </a:r>
          <a:endParaRPr lang="en-US" sz="3700" kern="1200"/>
        </a:p>
      </dsp:txBody>
      <dsp:txXfrm>
        <a:off x="71850" y="433214"/>
        <a:ext cx="6476805" cy="1328160"/>
      </dsp:txXfrm>
    </dsp:sp>
    <dsp:sp modelId="{10960BB6-8A93-49AC-8CD4-386CEB9F3A25}">
      <dsp:nvSpPr>
        <dsp:cNvPr id="0" name=""/>
        <dsp:cNvSpPr/>
      </dsp:nvSpPr>
      <dsp:spPr>
        <a:xfrm>
          <a:off x="0" y="1939785"/>
          <a:ext cx="6620505" cy="147186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700" b="1" kern="1200"/>
            <a:t>Le progrès technique</a:t>
          </a:r>
          <a:r>
            <a:rPr lang="fr-FR" sz="3700" kern="1200"/>
            <a:t> (ou obsolescence).</a:t>
          </a:r>
          <a:endParaRPr lang="en-US" sz="3700" kern="1200"/>
        </a:p>
      </dsp:txBody>
      <dsp:txXfrm>
        <a:off x="71850" y="2011635"/>
        <a:ext cx="6476805" cy="1328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3B13D6-CCCC-4B1A-8619-997C99DC5938}">
      <dsp:nvSpPr>
        <dsp:cNvPr id="0" name=""/>
        <dsp:cNvSpPr/>
      </dsp:nvSpPr>
      <dsp:spPr>
        <a:xfrm>
          <a:off x="0" y="105939"/>
          <a:ext cx="10515600" cy="413946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0980" tIns="220980" rIns="220980" bIns="220980" numCol="1" spcCol="1270" anchor="ctr" anchorCtr="0">
          <a:noAutofit/>
        </a:bodyPr>
        <a:lstStyle/>
        <a:p>
          <a:pPr marL="0" lvl="0" indent="0" algn="l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5800" kern="1200" dirty="0"/>
            <a:t>L'amortissement dépend donc de l'usage ou des conditions d'utilisation des immobilisations amortissables par l'entreprise.</a:t>
          </a:r>
          <a:endParaRPr lang="en-US" sz="5800" kern="1200" dirty="0"/>
        </a:p>
      </dsp:txBody>
      <dsp:txXfrm>
        <a:off x="202072" y="308011"/>
        <a:ext cx="10111456" cy="37353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2D3FEC-27CE-44EB-A4E0-6B7906CCE248}">
      <dsp:nvSpPr>
        <dsp:cNvPr id="0" name=""/>
        <dsp:cNvSpPr/>
      </dsp:nvSpPr>
      <dsp:spPr>
        <a:xfrm>
          <a:off x="212335" y="1507711"/>
          <a:ext cx="1335915" cy="133591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FA0BA9-ED78-4C51-98EB-DE12C789189E}">
      <dsp:nvSpPr>
        <dsp:cNvPr id="0" name=""/>
        <dsp:cNvSpPr/>
      </dsp:nvSpPr>
      <dsp:spPr>
        <a:xfrm>
          <a:off x="492877" y="1788253"/>
          <a:ext cx="774830" cy="77483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A828D2-81F2-41B1-A1D0-68D9011D0CC2}">
      <dsp:nvSpPr>
        <dsp:cNvPr id="0" name=""/>
        <dsp:cNvSpPr/>
      </dsp:nvSpPr>
      <dsp:spPr>
        <a:xfrm>
          <a:off x="1834517" y="1507711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200" kern="1200" dirty="0"/>
            <a:t>- pouvoir estimer la durée de vie du bien,  </a:t>
          </a:r>
          <a:endParaRPr lang="en-US" sz="3200" kern="1200" dirty="0"/>
        </a:p>
      </dsp:txBody>
      <dsp:txXfrm>
        <a:off x="1834517" y="1507711"/>
        <a:ext cx="3148942" cy="1335915"/>
      </dsp:txXfrm>
    </dsp:sp>
    <dsp:sp modelId="{DE88C41C-F56E-4E98-92DE-9999B9B4F514}">
      <dsp:nvSpPr>
        <dsp:cNvPr id="0" name=""/>
        <dsp:cNvSpPr/>
      </dsp:nvSpPr>
      <dsp:spPr>
        <a:xfrm>
          <a:off x="5532139" y="1507711"/>
          <a:ext cx="1335915" cy="1335915"/>
        </a:xfrm>
        <a:prstGeom prst="ellipse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84C88D-6699-4FD0-8D9F-C8149708FEFE}">
      <dsp:nvSpPr>
        <dsp:cNvPr id="0" name=""/>
        <dsp:cNvSpPr/>
      </dsp:nvSpPr>
      <dsp:spPr>
        <a:xfrm>
          <a:off x="5812681" y="1788253"/>
          <a:ext cx="774830" cy="77483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A19ECE-A22D-4F37-8A14-9AC5B0F0894E}">
      <dsp:nvSpPr>
        <dsp:cNvPr id="0" name=""/>
        <dsp:cNvSpPr/>
      </dsp:nvSpPr>
      <dsp:spPr>
        <a:xfrm>
          <a:off x="7154322" y="1507711"/>
          <a:ext cx="3148942" cy="1335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kern="1200"/>
            <a:t>- pouvoir estimer son coût d’acquisition</a:t>
          </a:r>
          <a:endParaRPr lang="en-US" sz="3600" kern="1200"/>
        </a:p>
      </dsp:txBody>
      <dsp:txXfrm>
        <a:off x="7154322" y="1507711"/>
        <a:ext cx="3148942" cy="133591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C9BBE3-B994-4155-9C7C-12B4C28E6768}">
      <dsp:nvSpPr>
        <dsp:cNvPr id="0" name=""/>
        <dsp:cNvSpPr/>
      </dsp:nvSpPr>
      <dsp:spPr>
        <a:xfrm>
          <a:off x="0" y="8"/>
          <a:ext cx="6900512" cy="78073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droits de douane,</a:t>
          </a:r>
          <a:endParaRPr lang="en-US" sz="2400" kern="1200" dirty="0"/>
        </a:p>
      </dsp:txBody>
      <dsp:txXfrm>
        <a:off x="38112" y="38120"/>
        <a:ext cx="6824288" cy="704513"/>
      </dsp:txXfrm>
    </dsp:sp>
    <dsp:sp modelId="{CFF12EF2-485E-4182-B336-4478191B3265}">
      <dsp:nvSpPr>
        <dsp:cNvPr id="0" name=""/>
        <dsp:cNvSpPr/>
      </dsp:nvSpPr>
      <dsp:spPr>
        <a:xfrm>
          <a:off x="0" y="792572"/>
          <a:ext cx="6900512" cy="780737"/>
        </a:xfrm>
        <a:prstGeom prst="roundRect">
          <a:avLst/>
        </a:prstGeom>
        <a:solidFill>
          <a:schemeClr val="accent5">
            <a:hueOff val="-1126424"/>
            <a:satOff val="-2903"/>
            <a:lumOff val="-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frais de transport,</a:t>
          </a:r>
          <a:endParaRPr lang="en-US" sz="2400" kern="1200" dirty="0"/>
        </a:p>
      </dsp:txBody>
      <dsp:txXfrm>
        <a:off x="38112" y="830684"/>
        <a:ext cx="6824288" cy="704513"/>
      </dsp:txXfrm>
    </dsp:sp>
    <dsp:sp modelId="{02D2B8F5-3D9E-4B02-841D-F1C64D55E7BB}">
      <dsp:nvSpPr>
        <dsp:cNvPr id="0" name=""/>
        <dsp:cNvSpPr/>
      </dsp:nvSpPr>
      <dsp:spPr>
        <a:xfrm>
          <a:off x="0" y="1585137"/>
          <a:ext cx="6900512" cy="780737"/>
        </a:xfrm>
        <a:prstGeom prst="roundRect">
          <a:avLst/>
        </a:prstGeom>
        <a:solidFill>
          <a:schemeClr val="accent5">
            <a:hueOff val="-2252848"/>
            <a:satOff val="-5806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frais de montage,</a:t>
          </a:r>
          <a:endParaRPr lang="en-US" sz="2400" kern="1200" dirty="0"/>
        </a:p>
      </dsp:txBody>
      <dsp:txXfrm>
        <a:off x="38112" y="1623249"/>
        <a:ext cx="6824288" cy="704513"/>
      </dsp:txXfrm>
    </dsp:sp>
    <dsp:sp modelId="{891CEF43-A450-4AA4-8305-0E698B910498}">
      <dsp:nvSpPr>
        <dsp:cNvPr id="0" name=""/>
        <dsp:cNvSpPr/>
      </dsp:nvSpPr>
      <dsp:spPr>
        <a:xfrm>
          <a:off x="0" y="2377701"/>
          <a:ext cx="6900512" cy="780737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frais d’installation,</a:t>
          </a:r>
          <a:endParaRPr lang="en-US" sz="2400" kern="1200" dirty="0"/>
        </a:p>
      </dsp:txBody>
      <dsp:txXfrm>
        <a:off x="38112" y="2415813"/>
        <a:ext cx="6824288" cy="704513"/>
      </dsp:txXfrm>
    </dsp:sp>
    <dsp:sp modelId="{8617C645-B55D-48DA-8B16-9B1A8996F8A2}">
      <dsp:nvSpPr>
        <dsp:cNvPr id="0" name=""/>
        <dsp:cNvSpPr/>
      </dsp:nvSpPr>
      <dsp:spPr>
        <a:xfrm>
          <a:off x="0" y="3170266"/>
          <a:ext cx="6900512" cy="780737"/>
        </a:xfrm>
        <a:prstGeom prst="roundRect">
          <a:avLst/>
        </a:prstGeom>
        <a:solidFill>
          <a:schemeClr val="accent5">
            <a:hueOff val="-4505695"/>
            <a:satOff val="-11613"/>
            <a:lumOff val="-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frais de déchargement,</a:t>
          </a:r>
          <a:endParaRPr lang="en-US" sz="2400" kern="1200" dirty="0"/>
        </a:p>
      </dsp:txBody>
      <dsp:txXfrm>
        <a:off x="38112" y="3208378"/>
        <a:ext cx="6824288" cy="704513"/>
      </dsp:txXfrm>
    </dsp:sp>
    <dsp:sp modelId="{92833AD8-BFF0-430E-9B6D-0E085FD8181E}">
      <dsp:nvSpPr>
        <dsp:cNvPr id="0" name=""/>
        <dsp:cNvSpPr/>
      </dsp:nvSpPr>
      <dsp:spPr>
        <a:xfrm>
          <a:off x="0" y="3962830"/>
          <a:ext cx="6900512" cy="780737"/>
        </a:xfrm>
        <a:prstGeom prst="roundRect">
          <a:avLst/>
        </a:prstGeom>
        <a:solidFill>
          <a:schemeClr val="accent5">
            <a:hueOff val="-5632119"/>
            <a:satOff val="-14516"/>
            <a:lumOff val="-980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frais de remise en état, en cas d'achat d'une immobilisation d'occasion,</a:t>
          </a:r>
          <a:endParaRPr lang="en-US" sz="2400" kern="1200" dirty="0"/>
        </a:p>
      </dsp:txBody>
      <dsp:txXfrm>
        <a:off x="38112" y="4000942"/>
        <a:ext cx="6824288" cy="704513"/>
      </dsp:txXfrm>
    </dsp:sp>
    <dsp:sp modelId="{B4A0E13C-D079-4999-BC60-1C5948CEB3E9}">
      <dsp:nvSpPr>
        <dsp:cNvPr id="0" name=""/>
        <dsp:cNvSpPr/>
      </dsp:nvSpPr>
      <dsp:spPr>
        <a:xfrm>
          <a:off x="0" y="4755394"/>
          <a:ext cx="6900512" cy="780737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- T.V.A non déductible (pour les véhicules de tourisme par exemple),</a:t>
          </a:r>
          <a:endParaRPr lang="en-US" sz="2400" kern="1200" dirty="0"/>
        </a:p>
      </dsp:txBody>
      <dsp:txXfrm>
        <a:off x="38112" y="4793506"/>
        <a:ext cx="6824288" cy="70451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C63C21-2077-4D2B-9D35-BE93B388B5CC}">
      <dsp:nvSpPr>
        <dsp:cNvPr id="0" name=""/>
        <dsp:cNvSpPr/>
      </dsp:nvSpPr>
      <dsp:spPr>
        <a:xfrm>
          <a:off x="205" y="486439"/>
          <a:ext cx="2479997" cy="297599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0" rIns="244969" bIns="33020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600" kern="1200" dirty="0"/>
            <a:t>- honoraires (d'architectes, avocats</a:t>
          </a:r>
          <a:endParaRPr lang="en-US" sz="2600" kern="1200" dirty="0"/>
        </a:p>
      </dsp:txBody>
      <dsp:txXfrm>
        <a:off x="205" y="1676838"/>
        <a:ext cx="2479997" cy="1785598"/>
      </dsp:txXfrm>
    </dsp:sp>
    <dsp:sp modelId="{1202D765-D302-4E74-A2B8-20E60CE5A293}">
      <dsp:nvSpPr>
        <dsp:cNvPr id="0" name=""/>
        <dsp:cNvSpPr/>
      </dsp:nvSpPr>
      <dsp:spPr>
        <a:xfrm>
          <a:off x="205" y="486439"/>
          <a:ext cx="2479997" cy="119039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165100" rIns="244969" bIns="165100" numCol="1" spcCol="1270" anchor="ctr" anchorCtr="0">
          <a:noAutofit/>
        </a:bodyPr>
        <a:lstStyle/>
        <a:p>
          <a:pPr marL="0" lvl="0" indent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100" kern="1200"/>
            <a:t>01</a:t>
          </a:r>
        </a:p>
      </dsp:txBody>
      <dsp:txXfrm>
        <a:off x="205" y="486439"/>
        <a:ext cx="2479997" cy="1190398"/>
      </dsp:txXfrm>
    </dsp:sp>
    <dsp:sp modelId="{3F30D49C-76BF-4183-9B91-6C97220BA2AA}">
      <dsp:nvSpPr>
        <dsp:cNvPr id="0" name=""/>
        <dsp:cNvSpPr/>
      </dsp:nvSpPr>
      <dsp:spPr>
        <a:xfrm>
          <a:off x="2678602" y="486439"/>
          <a:ext cx="2479997" cy="297599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0" rIns="244969" bIns="33020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600" kern="1200"/>
            <a:t>- droits de mutation,</a:t>
          </a:r>
        </a:p>
      </dsp:txBody>
      <dsp:txXfrm>
        <a:off x="2678602" y="1676838"/>
        <a:ext cx="2479997" cy="1785598"/>
      </dsp:txXfrm>
    </dsp:sp>
    <dsp:sp modelId="{C6312857-B7CF-4539-B7E4-AECF04369EAA}">
      <dsp:nvSpPr>
        <dsp:cNvPr id="0" name=""/>
        <dsp:cNvSpPr/>
      </dsp:nvSpPr>
      <dsp:spPr>
        <a:xfrm>
          <a:off x="2678602" y="486439"/>
          <a:ext cx="2479997" cy="119039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165100" rIns="244969" bIns="165100" numCol="1" spcCol="1270" anchor="ctr" anchorCtr="0">
          <a:noAutofit/>
        </a:bodyPr>
        <a:lstStyle/>
        <a:p>
          <a:pPr marL="0" lvl="0" indent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100" kern="1200"/>
            <a:t>02</a:t>
          </a:r>
        </a:p>
      </dsp:txBody>
      <dsp:txXfrm>
        <a:off x="2678602" y="486439"/>
        <a:ext cx="2479997" cy="1190398"/>
      </dsp:txXfrm>
    </dsp:sp>
    <dsp:sp modelId="{6D26F5A3-92D8-44EC-A766-54410919774A}">
      <dsp:nvSpPr>
        <dsp:cNvPr id="0" name=""/>
        <dsp:cNvSpPr/>
      </dsp:nvSpPr>
      <dsp:spPr>
        <a:xfrm>
          <a:off x="5356999" y="486439"/>
          <a:ext cx="2479997" cy="297599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0" rIns="244969" bIns="33020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600" kern="1200"/>
            <a:t>- commissions (frais d'agence immobilière), </a:t>
          </a:r>
        </a:p>
      </dsp:txBody>
      <dsp:txXfrm>
        <a:off x="5356999" y="1676838"/>
        <a:ext cx="2479997" cy="1785598"/>
      </dsp:txXfrm>
    </dsp:sp>
    <dsp:sp modelId="{EE98CC14-1250-48C3-8B99-8A18E9D8A738}">
      <dsp:nvSpPr>
        <dsp:cNvPr id="0" name=""/>
        <dsp:cNvSpPr/>
      </dsp:nvSpPr>
      <dsp:spPr>
        <a:xfrm>
          <a:off x="5356999" y="486439"/>
          <a:ext cx="2479997" cy="119039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165100" rIns="244969" bIns="165100" numCol="1" spcCol="1270" anchor="ctr" anchorCtr="0">
          <a:noAutofit/>
        </a:bodyPr>
        <a:lstStyle/>
        <a:p>
          <a:pPr marL="0" lvl="0" indent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100" kern="1200"/>
            <a:t>03</a:t>
          </a:r>
        </a:p>
      </dsp:txBody>
      <dsp:txXfrm>
        <a:off x="5356999" y="486439"/>
        <a:ext cx="2479997" cy="1190398"/>
      </dsp:txXfrm>
    </dsp:sp>
    <dsp:sp modelId="{BA1C8A48-89B9-4090-86F1-E32F76179EAC}">
      <dsp:nvSpPr>
        <dsp:cNvPr id="0" name=""/>
        <dsp:cNvSpPr/>
      </dsp:nvSpPr>
      <dsp:spPr>
        <a:xfrm>
          <a:off x="8035397" y="486439"/>
          <a:ext cx="2479997" cy="297599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0" rIns="244969" bIns="33020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600" kern="1200"/>
            <a:t>- frais d'actes.</a:t>
          </a:r>
        </a:p>
      </dsp:txBody>
      <dsp:txXfrm>
        <a:off x="8035397" y="1676838"/>
        <a:ext cx="2479997" cy="1785598"/>
      </dsp:txXfrm>
    </dsp:sp>
    <dsp:sp modelId="{A98A07C7-C9F6-4D61-B649-37571E33F450}">
      <dsp:nvSpPr>
        <dsp:cNvPr id="0" name=""/>
        <dsp:cNvSpPr/>
      </dsp:nvSpPr>
      <dsp:spPr>
        <a:xfrm>
          <a:off x="8035397" y="486439"/>
          <a:ext cx="2479997" cy="119039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69" tIns="165100" rIns="244969" bIns="165100" numCol="1" spcCol="1270" anchor="ctr" anchorCtr="0">
          <a:noAutofit/>
        </a:bodyPr>
        <a:lstStyle/>
        <a:p>
          <a:pPr marL="0" lvl="0" indent="0" algn="l" defTabSz="2711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6100" kern="1200"/>
            <a:t>04</a:t>
          </a:r>
        </a:p>
      </dsp:txBody>
      <dsp:txXfrm>
        <a:off x="8035397" y="486439"/>
        <a:ext cx="2479997" cy="11903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7D69E7-021A-4A67-92C7-AD1E833171FE}">
      <dsp:nvSpPr>
        <dsp:cNvPr id="0" name=""/>
        <dsp:cNvSpPr/>
      </dsp:nvSpPr>
      <dsp:spPr>
        <a:xfrm>
          <a:off x="0" y="919142"/>
          <a:ext cx="6248400" cy="169687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82CEC7-18D7-405D-B916-6ADD1EC207EF}">
      <dsp:nvSpPr>
        <dsp:cNvPr id="0" name=""/>
        <dsp:cNvSpPr/>
      </dsp:nvSpPr>
      <dsp:spPr>
        <a:xfrm>
          <a:off x="513305" y="1300940"/>
          <a:ext cx="933283" cy="93328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2479B5-DB52-4112-8886-79BD32D75C4B}">
      <dsp:nvSpPr>
        <dsp:cNvPr id="0" name=""/>
        <dsp:cNvSpPr/>
      </dsp:nvSpPr>
      <dsp:spPr>
        <a:xfrm>
          <a:off x="1959895" y="919142"/>
          <a:ext cx="4288504" cy="1696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586" tIns="179586" rIns="179586" bIns="179586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Durée d'utilisation : 5 ans =&gt; Taux L = 1/5 * 100 = 20 %</a:t>
          </a:r>
          <a:endParaRPr lang="en-US" sz="2500" kern="1200"/>
        </a:p>
      </dsp:txBody>
      <dsp:txXfrm>
        <a:off x="1959895" y="919142"/>
        <a:ext cx="4288504" cy="1696878"/>
      </dsp:txXfrm>
    </dsp:sp>
    <dsp:sp modelId="{8003C46B-EB75-4221-B46C-9C3834CA23EE}">
      <dsp:nvSpPr>
        <dsp:cNvPr id="0" name=""/>
        <dsp:cNvSpPr/>
      </dsp:nvSpPr>
      <dsp:spPr>
        <a:xfrm>
          <a:off x="0" y="3040241"/>
          <a:ext cx="6248400" cy="169687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A141A6-4BD0-43A5-8A5A-007179016E4B}">
      <dsp:nvSpPr>
        <dsp:cNvPr id="0" name=""/>
        <dsp:cNvSpPr/>
      </dsp:nvSpPr>
      <dsp:spPr>
        <a:xfrm>
          <a:off x="513305" y="3422039"/>
          <a:ext cx="933283" cy="93328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C1AC61-540D-48CE-9752-0F89EAD865F7}">
      <dsp:nvSpPr>
        <dsp:cNvPr id="0" name=""/>
        <dsp:cNvSpPr/>
      </dsp:nvSpPr>
      <dsp:spPr>
        <a:xfrm>
          <a:off x="1959895" y="3040241"/>
          <a:ext cx="4288504" cy="1696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586" tIns="179586" rIns="179586" bIns="179586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500" kern="1200"/>
            <a:t>Durée d'utilisation : 3 ans =&gt; Taux L = 1/3 * 100 = 33,33 %</a:t>
          </a:r>
          <a:endParaRPr lang="en-US" sz="2500" kern="1200"/>
        </a:p>
      </dsp:txBody>
      <dsp:txXfrm>
        <a:off x="1959895" y="3040241"/>
        <a:ext cx="4288504" cy="169687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7004D2-B5AD-4AD2-A58F-5E3508E33CC5}">
      <dsp:nvSpPr>
        <dsp:cNvPr id="0" name=""/>
        <dsp:cNvSpPr/>
      </dsp:nvSpPr>
      <dsp:spPr>
        <a:xfrm>
          <a:off x="0" y="2253"/>
          <a:ext cx="6619811" cy="0"/>
        </a:xfrm>
        <a:prstGeom prst="lin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0E17BD-A27B-4448-8CB7-7C4F441EE2F2}">
      <dsp:nvSpPr>
        <dsp:cNvPr id="0" name=""/>
        <dsp:cNvSpPr/>
      </dsp:nvSpPr>
      <dsp:spPr>
        <a:xfrm>
          <a:off x="6464" y="0"/>
          <a:ext cx="6613346" cy="82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Avant de construire le plan d'amortissement de l'immobilisation proprement dit, il est nécessaire d'effectuer des calculs préalables.</a:t>
          </a:r>
          <a:endParaRPr lang="en-US" sz="1800" kern="1200" dirty="0"/>
        </a:p>
      </dsp:txBody>
      <dsp:txXfrm>
        <a:off x="6464" y="0"/>
        <a:ext cx="6613346" cy="829710"/>
      </dsp:txXfrm>
    </dsp:sp>
    <dsp:sp modelId="{B59D0DE6-9F36-4261-9410-115BD3BFE169}">
      <dsp:nvSpPr>
        <dsp:cNvPr id="0" name=""/>
        <dsp:cNvSpPr/>
      </dsp:nvSpPr>
      <dsp:spPr>
        <a:xfrm>
          <a:off x="0" y="831963"/>
          <a:ext cx="6619811" cy="0"/>
        </a:xfrm>
        <a:prstGeom prst="line">
          <a:avLst/>
        </a:prstGeom>
        <a:solidFill>
          <a:schemeClr val="accent5">
            <a:hueOff val="-1689636"/>
            <a:satOff val="-4355"/>
            <a:lumOff val="-2941"/>
            <a:alphaOff val="0"/>
          </a:schemeClr>
        </a:solidFill>
        <a:ln w="12700" cap="flat" cmpd="sng" algn="ctr">
          <a:solidFill>
            <a:schemeClr val="accent5">
              <a:hueOff val="-1689636"/>
              <a:satOff val="-4355"/>
              <a:lumOff val="-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58B88C-A61B-49CF-BA8F-E40EB303E514}">
      <dsp:nvSpPr>
        <dsp:cNvPr id="0" name=""/>
        <dsp:cNvSpPr/>
      </dsp:nvSpPr>
      <dsp:spPr>
        <a:xfrm>
          <a:off x="0" y="831963"/>
          <a:ext cx="6613346" cy="82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La première annuité d’amortissement  est calculée </a:t>
          </a:r>
          <a:r>
            <a:rPr lang="fr-FR" sz="1800" b="1" kern="1200" dirty="0"/>
            <a:t>prorata-</a:t>
          </a:r>
          <a:r>
            <a:rPr lang="fr-FR" sz="1800" b="1" kern="1200" dirty="0" err="1"/>
            <a:t>temporis</a:t>
          </a:r>
          <a:r>
            <a:rPr lang="fr-FR" sz="1800" b="1" kern="1200" dirty="0"/>
            <a:t> </a:t>
          </a:r>
          <a:r>
            <a:rPr lang="fr-FR" sz="1800" kern="1200" dirty="0"/>
            <a:t>(en fonction du temps), </a:t>
          </a:r>
          <a:r>
            <a:rPr lang="fr-FR" sz="1800" b="1" kern="1200" dirty="0"/>
            <a:t>en jours</a:t>
          </a:r>
          <a:r>
            <a:rPr lang="fr-FR" sz="1800" kern="1200" dirty="0"/>
            <a:t>, entre la date de livraison (ou de mise en service) et la date d’inventaire.</a:t>
          </a:r>
          <a:endParaRPr lang="en-US" sz="1800" kern="1200" dirty="0"/>
        </a:p>
      </dsp:txBody>
      <dsp:txXfrm>
        <a:off x="0" y="831963"/>
        <a:ext cx="6613346" cy="829710"/>
      </dsp:txXfrm>
    </dsp:sp>
    <dsp:sp modelId="{3ADF82BE-169E-4353-9926-2ECCA54B5FC8}">
      <dsp:nvSpPr>
        <dsp:cNvPr id="0" name=""/>
        <dsp:cNvSpPr/>
      </dsp:nvSpPr>
      <dsp:spPr>
        <a:xfrm>
          <a:off x="0" y="1661674"/>
          <a:ext cx="6619811" cy="0"/>
        </a:xfrm>
        <a:prstGeom prst="line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accent5">
              <a:hueOff val="-3379271"/>
              <a:satOff val="-8710"/>
              <a:lumOff val="-58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28B766-7DD3-4097-9EB7-70752FED7769}">
      <dsp:nvSpPr>
        <dsp:cNvPr id="0" name=""/>
        <dsp:cNvSpPr/>
      </dsp:nvSpPr>
      <dsp:spPr>
        <a:xfrm>
          <a:off x="0" y="1661674"/>
          <a:ext cx="6613346" cy="82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Par simplification :</a:t>
          </a:r>
          <a:endParaRPr lang="en-US" sz="1800" kern="1200" dirty="0"/>
        </a:p>
      </dsp:txBody>
      <dsp:txXfrm>
        <a:off x="0" y="1661674"/>
        <a:ext cx="6613346" cy="829710"/>
      </dsp:txXfrm>
    </dsp:sp>
    <dsp:sp modelId="{E55214DC-4FA9-464E-8F83-5750D83DBCA9}">
      <dsp:nvSpPr>
        <dsp:cNvPr id="0" name=""/>
        <dsp:cNvSpPr/>
      </dsp:nvSpPr>
      <dsp:spPr>
        <a:xfrm>
          <a:off x="0" y="2491384"/>
          <a:ext cx="6619811" cy="0"/>
        </a:xfrm>
        <a:prstGeom prst="line">
          <a:avLst/>
        </a:prstGeom>
        <a:solidFill>
          <a:schemeClr val="accent5">
            <a:hueOff val="-5068907"/>
            <a:satOff val="-13064"/>
            <a:lumOff val="-8824"/>
            <a:alphaOff val="0"/>
          </a:schemeClr>
        </a:solidFill>
        <a:ln w="12700" cap="flat" cmpd="sng" algn="ctr">
          <a:solidFill>
            <a:schemeClr val="accent5">
              <a:hueOff val="-5068907"/>
              <a:satOff val="-13064"/>
              <a:lumOff val="-882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129D94-9F18-45B1-AAE9-B9300C856024}">
      <dsp:nvSpPr>
        <dsp:cNvPr id="0" name=""/>
        <dsp:cNvSpPr/>
      </dsp:nvSpPr>
      <dsp:spPr>
        <a:xfrm>
          <a:off x="0" y="2491384"/>
          <a:ext cx="6613346" cy="82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- la durée d'un exercice = 12 mois * 30 jours = 360 	jours ;</a:t>
          </a:r>
          <a:endParaRPr lang="en-US" sz="1800" kern="1200" dirty="0"/>
        </a:p>
      </dsp:txBody>
      <dsp:txXfrm>
        <a:off x="0" y="2491384"/>
        <a:ext cx="6613346" cy="829710"/>
      </dsp:txXfrm>
    </dsp:sp>
    <dsp:sp modelId="{E45D2ED1-E6FB-4815-9029-01B5E1471840}">
      <dsp:nvSpPr>
        <dsp:cNvPr id="0" name=""/>
        <dsp:cNvSpPr/>
      </dsp:nvSpPr>
      <dsp:spPr>
        <a:xfrm>
          <a:off x="0" y="3321095"/>
          <a:ext cx="6619811" cy="0"/>
        </a:xfrm>
        <a:prstGeom prst="lin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DB567F-6AF1-4BB0-BB20-D7329F8333C1}">
      <dsp:nvSpPr>
        <dsp:cNvPr id="0" name=""/>
        <dsp:cNvSpPr/>
      </dsp:nvSpPr>
      <dsp:spPr>
        <a:xfrm>
          <a:off x="0" y="3321095"/>
          <a:ext cx="6613346" cy="82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- chaque mois est compté pour 30 jours,</a:t>
          </a:r>
          <a:endParaRPr lang="en-US" sz="1800" kern="1200" dirty="0"/>
        </a:p>
      </dsp:txBody>
      <dsp:txXfrm>
        <a:off x="0" y="3321095"/>
        <a:ext cx="6613346" cy="8297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2">
  <dgm:title val=""/>
  <dgm:desc val=""/>
  <dgm:catLst>
    <dgm:cat type="process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/>
    </dgm:varLst>
    <dgm:choose name="Name0">
      <dgm:if name="Name1" func="var" arg="dir" op="equ" val="norm">
        <dgm:alg type="snake">
          <dgm:param type="grDir" val="tL"/>
          <dgm:param type="flowDir" val="col"/>
          <dgm:param type="contDir" val="revDir"/>
        </dgm:alg>
      </dgm:if>
      <dgm:else name="Name2">
        <dgm:alg type="snake">
          <dgm:param type="grDir" val="tR"/>
          <dgm:param type="flowDir" val="col"/>
          <dgm:param type="contDir" val="revDi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firstNode" refType="w"/>
      <dgm:constr type="w" for="ch" forName="lastNode" refType="w" refFor="ch" refForName="firstNode" op="equ"/>
      <dgm:constr type="w" for="ch" forName="middleNode" refType="w" refFor="ch" refForName="firstNode" op="equ"/>
      <dgm:constr type="h" for="ch" ptType="sibTrans" refType="w" refFor="ch" refForName="middleNode" op="equ" fact="0.35"/>
      <dgm:constr type="sp" refType="w" refFor="ch" refForName="middleNode" fact="0.5"/>
      <dgm:constr type="connDist" for="des" ptType="sibTrans" op="equ"/>
      <dgm:constr type="primFontSz" for="ch" forName="firstNode" val="65"/>
      <dgm:constr type="primFontSz" for="ch" forName="lastNode" refType="primFontSz" refFor="ch" refForName="firstNode" op="equ"/>
      <dgm:constr type="primFontSz" for="des" forName="shape" val="65"/>
      <dgm:constr type="primFontSz" for="des" forName="shape" refType="primFontSz" refFor="ch" refForName="firstNode" op="lte"/>
      <dgm:constr type="primFontSz" for="des" forName="shape" refType="primFontSz" refFor="ch" refForName="lastNode" op="lte"/>
    </dgm:constrLst>
    <dgm:ruleLst/>
    <dgm:forEach name="Name3" axis="ch" ptType="node">
      <dgm:choose name="Name4">
        <dgm:if name="Name5" axis="self" ptType="node" func="pos" op="equ" val="1">
          <dgm:layoutNode name="firstNode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if>
        <dgm:if name="Name6" axis="self" ptType="node" func="revPos" op="equ" val="1">
          <dgm:layoutNode name="lastNode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if>
        <dgm:else name="Name7">
          <dgm:layoutNode name="middleNod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  <dgm:constr type="w" for="ch" forName="padding" refType="w"/>
              <dgm:constr type="h" for="ch" forName="padding" refType="h"/>
              <dgm:constr type="w" for="ch" forName="shape" refType="w" fact="0.667"/>
              <dgm:constr type="h" for="ch" forName="shape" refType="h" fact="0.667"/>
              <dgm:constr type="ctrX" for="ch" forName="shape" refType="w" fact="0.5"/>
              <dgm:constr type="ctrY" for="ch" forName="shape" refType="h" fact="0.5"/>
            </dgm:constrLst>
            <dgm:ruleLst/>
            <dgm:layoutNode name="padding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shape">
              <dgm:varLst>
                <dgm:bulletEnabled val="1"/>
              </dgm:varLst>
              <dgm:alg type="tx">
                <dgm:param type="txAnchorVertCh" val="mid"/>
              </dgm:alg>
              <dgm:shape xmlns:r="http://schemas.openxmlformats.org/officeDocument/2006/relationships" type="ellipse" r:blip="">
                <dgm:adjLst/>
              </dgm:shape>
              <dgm:presOf axis="desOrSelf" ptType="node"/>
              <dgm:constrLst>
                <dgm:constr type="h" refType="w"/>
                <dgm:constr type="tMarg" refType="primFontSz" fact="0.1"/>
                <dgm:constr type="bMarg" refType="primFontSz" fact="0.1"/>
                <dgm:constr type="lMarg" refType="primFontSz" fact="0.1"/>
                <dgm:constr type="r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  <dgm:forEach name="Name8" axis="followSib" ptType="sibTrans" cnt="1">
        <dgm:layoutNode name="sibTrans">
          <dgm:choose name="Name9">
            <dgm:if name="Name10" func="var" arg="dir" op="equ" val="norm">
              <dgm:choose name="Name11">
                <dgm:if name="Name12" axis="self" ptType="sibTrans" func="pos" op="equ" val="1">
                  <dgm:alg type="conn">
                    <dgm:param type="begPts" val="auto"/>
                    <dgm:param type="endPts" val="auto"/>
                    <dgm:param type="srcNode" val="firstNode"/>
                    <dgm:param type="dstNode" val="shape"/>
                  </dgm:alg>
                </dgm:if>
                <dgm:if name="Name13" axis="self" ptType="sibTrans" func="revPos" op="equ" val="1">
                  <dgm:alg type="conn">
                    <dgm:param type="begPts" val="auto"/>
                    <dgm:param type="endPts" val="auto"/>
                    <dgm:param type="srcNode" val="shape"/>
                    <dgm:param type="dstNode" val="lastNode"/>
                  </dgm:alg>
                </dgm:if>
                <dgm:else name="Name14">
                  <dgm:alg type="conn">
                    <dgm:param type="begPts" val="auto"/>
                    <dgm:param type="endPts" val="auto"/>
                    <dgm:param type="srcNode" val="shape"/>
                    <dgm:param type="dstNode" val="shape"/>
                  </dgm:alg>
                </dgm:else>
              </dgm:choose>
            </dgm:if>
            <dgm:else name="Name15">
              <dgm:choose name="Name16">
                <dgm:if name="Name17" axis="self" ptType="sibTrans" func="pos" op="equ" val="1">
                  <dgm:alg type="conn">
                    <dgm:param type="begPts" val="auto"/>
                    <dgm:param type="endPts" val="auto"/>
                    <dgm:param type="srcNode" val="firstNode"/>
                    <dgm:param type="dstNode" val="shape"/>
                  </dgm:alg>
                </dgm:if>
                <dgm:if name="Name18" axis="self" ptType="sibTrans" func="revPos" op="equ" val="1">
                  <dgm:alg type="conn">
                    <dgm:param type="begPts" val="auto"/>
                    <dgm:param type="endPts" val="auto"/>
                    <dgm:param type="srcNode" val="shape"/>
                    <dgm:param type="dstNode" val="lastNode"/>
                  </dgm:alg>
                </dgm:if>
                <dgm:else name="Name19">
                  <dgm:alg type="conn">
                    <dgm:param type="begPts" val="auto"/>
                    <dgm:param type="endPts" val="auto"/>
                    <dgm:param type="srcNode" val="shape"/>
                    <dgm:param type="dstNode" val="shape"/>
                  </dgm:alg>
                </dgm:else>
              </dgm:choose>
            </dgm:else>
          </dgm:choose>
          <dgm:shape xmlns:r="http://schemas.openxmlformats.org/officeDocument/2006/relationships" rot="90" type="triangle" r:blip="">
            <dgm:adjLst/>
          </dgm:shape>
          <dgm:presOf axis="self"/>
          <dgm:constrLst>
            <dgm:constr type="w" refType="h"/>
            <dgm:constr type="connDist"/>
            <dgm:constr type="begPad" refType="connDist" fact="0.25"/>
            <dgm:constr type="endPad" refType="connDist" fact="0.22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6/7/layout/LinearBlockProcessNumbered">
  <dgm:title val="Linear Block Process Numbered"/>
  <dgm:desc val="Used to show a progression; a timeline; sequential steps in a task, process, or workflow; or to emphasize movement or direction. Automatic numbers have been introduced to show the steps of the process. Level 1 text and Level 2 text both appears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0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0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0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08"/>
      <dgm:constr type="primFontSz" for="des" forName="sibTransNodeRect" op="equ"/>
      <dgm:constr type="primFontSz" for="des" forName="nodeRect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2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w" for="ch" forName="sibTransNodeRect" refType="w" refFor="ch" refForName="bgRect"/>
          <dgm:constr type="h" for="ch" forName="sibTransNodeRect" refType="h" refFor="ch" refForName="bgRect" fact="0.4"/>
          <dgm:constr type="t" for="ch" forName="sibTransNodeRect"/>
          <dgm:constr type="l" for="ch" forName="sibTransNodeRect"/>
          <dgm:constr type="r" for="ch" forName="nodeRect" refType="r" refFor="ch" refForName="bgRect"/>
          <dgm:constr type="h" for="ch" forName="nodeRect" refType="h" refFor="ch" refForName="bgRect" fact="0.6"/>
          <dgm:constr type="t" for="ch" forName="nodeRect" refType="b" refFor="ch" refForName="sibTransNodeRect"/>
          <dgm:constr type="l" for="ch" forName="nodeRect" refType="l" refFor="ch" refForName="bgRect"/>
        </dgm:constrLst>
        <dgm:ruleLst>
          <dgm:rule type="w" for="ch" forName="nodeRect" val="NaN" fact="NaN" max="30"/>
        </dgm:ruleLst>
        <dgm:layoutNode name="bgRect" styleLbl="alignNode1">
          <dgm:alg type="sp"/>
          <dgm:shape xmlns:r="http://schemas.openxmlformats.org/officeDocument/2006/relationships" type="rect" r:blip="">
            <dgm:adjLst>
              <dgm:adj idx="1" val="0.05"/>
            </dgm:adjLst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Rect" styleLbl="alignNode1">
            <dgm:varLst>
              <dgm:chMax val="0"/>
              <dgm:bulletEnabled val="1"/>
            </dgm:varLst>
            <dgm:presOf axis="self"/>
            <dgm:alg type="tx">
              <dgm:param type="parTxLTRAlign" val="l"/>
              <dgm:param type="parTxRTLAlign" val="l"/>
            </dgm:alg>
            <dgm:shape xmlns:r="http://schemas.openxmlformats.org/officeDocument/2006/relationships" type="rect" r:blip="" hideGeom="1">
              <dgm:adjLst/>
            </dgm:shape>
            <dgm:constrLst>
              <dgm:constr type="primFontSz" val="66"/>
              <dgm:constr type="tMarg" val="13"/>
              <dgm:constr type="lMarg" refType="w" fact="0.28"/>
              <dgm:constr type="rMarg" refType="w" fact="0.28"/>
              <dgm:constr type="bMarg" val="13"/>
            </dgm:constrLst>
            <dgm:ruleLst>
              <dgm:rule type="primFontSz" val="14" fact="NaN" max="NaN"/>
              <dgm:rule type="tMarg" val="13" fact="NaN" max="NaN"/>
            </dgm:ruleLst>
          </dgm:layoutNode>
        </dgm:forEach>
        <dgm:layoutNode name="nodeRect" styleLbl="align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  <dgm:param type="stBulletLvl" val="2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26"/>
            <dgm:constr type="tMarg"/>
            <dgm:constr type="lMarg" refType="w" fact="0.28"/>
            <dgm:constr type="rMarg" refType="w" fact="0.28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1">
            <a:buAutoNum type="arabicParenBoth"/>
          </dgm1611:buPr>
        </dgm1611:autoBuNodeInfo>
      </dgm1611:autoBuNodeInfoLst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74E31-4102-4DAB-AA30-205A8BC854D4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9E81F-EEE6-4E3A-AE16-C0BE10FF16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402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67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13567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12521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6762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3954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99E81F-EEE6-4E3A-AE16-C0BE10FF1680}" type="slidenum">
              <a:rPr lang="fr-FR" smtClean="0"/>
              <a:t>5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335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7BD57D-84CD-4DA6-ACCF-8CEC063D82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D19402C-4986-4F03-B149-B59478CBC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A17A5-4404-44D9-B645-2177629EB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36A295-F235-411B-8653-78D5CFEB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4D0148C-2377-437A-9B96-C1D01D45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417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CF77D9-A2E2-47AF-9DA6-3E88E50ED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BF1DE80-A284-4C12-8998-96E09ECD2B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39B5A0B-FBB5-4756-860F-875AB0CB7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42CC808-89A4-47E4-B295-3F9116F82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55BD20-72DC-487C-8B40-787775EBC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5480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C2353EA2-D366-4F02-B08A-5FEED95BD9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4DA6CD5-251E-4DFA-B380-5EB2130294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85B917B-2B60-4988-B84F-D3AFCB1DD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B53DFA-3E34-4A01-A1E8-6D7B74457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A9D7E8-2346-4B4B-9CF9-1C67D6668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262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3914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544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84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795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636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761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24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207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D533BA-64DD-46E7-AC37-8284A1B92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5FA018E-EDA2-4960-8996-9D0F0B371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1E258E7-ED34-4740-9A51-3EF636548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E4DA7DE-70E6-4FC4-AEB8-2B4A91028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74F055B-A12A-40C8-913E-87AC2D74D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2643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2949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5021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3167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A53301-5DB9-4753-ABD4-856DD5147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6065A32-834F-432D-A0D3-7ECBC848C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16BCDE-E203-48ED-B45F-9D93DC3EF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44B27C3-8E90-44EF-B2A0-1D4A9700A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5169281-95B4-43D4-BD98-2009AB07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6540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3EE1FC-395B-4804-BCED-98B869CA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D30819D-33A8-4726-B505-831ADB90F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727D8D7-37DF-475A-8F8B-107336CE7F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6DA209-39AA-44B8-BA06-71668A727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701A22-5ACC-4505-9A5B-EFFCF1BEE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BF9EC-FDAE-4527-A964-C32D4D885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459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1E377DA-C3AC-4A42-9312-85C3B28A1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ECFD34-CCC4-4C10-95D2-1DCC3D875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D248D42-AEE2-48BB-B8A6-37B3BF1EC7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FF54CA6-B4B3-4EBE-BAA9-8A083AD04B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CB67F1B9-3210-4603-A593-82AA147797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4FE2936-F0AC-4E86-9BB9-6C88937F1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D4B4DA8C-4CAE-47BB-B5D8-D3CD8CA08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F733564-54DF-4A81-A1E0-E16BDFCCC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600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106E18-40BE-4CE6-A1DE-51E2FCB71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C9E90AC-A901-4B3B-8F1A-62F80383E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B69960F-910E-441F-9234-4EFA03174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EAD386-BAAD-4887-AEC1-ACEC7AC7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842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EA3A60B-5261-4319-9606-C7A19FE79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CD7E47D-E0D5-4EA3-A174-877281D1E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BA8F0E-BF11-4E0E-B6B3-0C4D3ED9A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23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D5B282-2CDC-43BA-91BF-BB825DDC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2B1462-82C2-41F9-B928-24CD0E058B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8E6443F-D9C8-4B0A-A85E-AFB98C178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8546B2-B4AD-4632-A7F6-E278F595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95E8C30-5617-4C3D-86F5-1BB6370D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98214D-67A4-4095-A830-2541FC31F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199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9969A8-DB1E-4329-86AA-AAC523FDA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7A97373-2753-4E91-A499-97DCFA713F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E0A5C63-7589-47D3-A6A8-2BAA1AA21C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658AF3C-8B47-4456-B292-94827E8D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94149C-1965-48BE-A21B-231EFD479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75B3F0F-B380-4E1B-AC33-1610717B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553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24DAE3-D939-4C4D-88F9-662ED8E02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D21944-0B8F-4C3A-9BCA-D8EF26A831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B3C1B60-F7FD-45E2-AFE6-969B7E482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AC662-8F7E-46FF-BF45-54D2733F0C8C}" type="datetimeFigureOut">
              <a:rPr lang="fr-FR" smtClean="0"/>
              <a:t>09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66FD234-03EA-4C46-8B22-CFC6DD2300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0ED5CD-B777-437E-B0F8-CFA32F5B3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0A9C33-773E-4B08-A2CE-4F0FB093667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181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02334-7E8B-4320-A1E2-4B05AC15A670}" type="datetimeFigureOut">
              <a:rPr lang="fr-FR" smtClean="0"/>
              <a:pPr/>
              <a:t>09/04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8582E2-60D7-40E7-AECB-CED9E7320F8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64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hyperlink" Target="https://espritscience.blogspot.com/2008/01/du-rapport-des-temps.html" TargetMode="External"/><Relationship Id="rId4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infirmiers.com/votre-carriere/ide-liberale/la-comptabilite-infirmier-liberal-pourquoi-ne-pas-externaliser.html" TargetMode="Externa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09AF2F-022D-42E7-9EE8-B11BCE898D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64614" y="1783959"/>
            <a:ext cx="4087306" cy="2889114"/>
          </a:xfrm>
        </p:spPr>
        <p:txBody>
          <a:bodyPr anchor="b">
            <a:normAutofit fontScale="90000"/>
          </a:bodyPr>
          <a:lstStyle/>
          <a:p>
            <a:pPr algn="l"/>
            <a:r>
              <a:rPr lang="fr-FR" sz="5400" dirty="0">
                <a:latin typeface="Arial" panose="020B0604020202020204" pitchFamily="34" charset="0"/>
                <a:cs typeface="Arial" panose="020B0604020202020204" pitchFamily="34" charset="0"/>
              </a:rPr>
              <a:t>Université de Montpellier</a:t>
            </a:r>
            <a:br>
              <a:rPr lang="fr-FR" sz="5400" dirty="0"/>
            </a:br>
            <a:endParaRPr lang="fr-FR" sz="540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1349F9F-31B4-41DC-B4DB-C097467B5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612" y="4750893"/>
            <a:ext cx="4489965" cy="1147863"/>
          </a:xfrm>
        </p:spPr>
        <p:txBody>
          <a:bodyPr anchor="t">
            <a:normAutofit fontScale="70000" lnSpcReduction="20000"/>
          </a:bodyPr>
          <a:lstStyle/>
          <a:p>
            <a:pPr algn="l"/>
            <a:endParaRPr lang="fr-FR" sz="2000" dirty="0"/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Cours de comptabilité N°7</a:t>
            </a:r>
          </a:p>
          <a:p>
            <a:pPr algn="l"/>
            <a:r>
              <a:rPr lang="fr-FR" sz="4000" dirty="0">
                <a:latin typeface="Arial" panose="020B0604020202020204" pitchFamily="34" charset="0"/>
                <a:cs typeface="Arial" panose="020B0604020202020204" pitchFamily="34" charset="0"/>
              </a:rPr>
              <a:t>02-09 avril 202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 descr="Bibliothèque publique floue abstraite avec des étagères à livres">
            <a:extLst>
              <a:ext uri="{FF2B5EF4-FFF2-40B4-BE49-F238E27FC236}">
                <a16:creationId xmlns:a16="http://schemas.microsoft.com/office/drawing/2014/main" id="{7BB6D41E-7376-4805-B0B6-C72AFA381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25" r="26964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8639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1"/>
            <a:ext cx="12191990" cy="226503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1" y="637762"/>
            <a:ext cx="9888496" cy="1520377"/>
          </a:xfrm>
        </p:spPr>
        <p:txBody>
          <a:bodyPr anchor="ctr">
            <a:normAutofit/>
          </a:bodyPr>
          <a:lstStyle/>
          <a:p>
            <a:r>
              <a:rPr lang="fr-FR">
                <a:solidFill>
                  <a:schemeClr val="bg1"/>
                </a:solidFill>
              </a:rPr>
              <a:t>Principe - Amortiss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65038"/>
            <a:ext cx="12191990" cy="46390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Espace réservé du contenu 2">
            <a:extLst>
              <a:ext uri="{FF2B5EF4-FFF2-40B4-BE49-F238E27FC236}">
                <a16:creationId xmlns:a16="http://schemas.microsoft.com/office/drawing/2014/main" id="{EA8B118F-B79E-4FD3-A0D6-C6DB5E057F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654901"/>
              </p:ext>
            </p:extLst>
          </p:nvPr>
        </p:nvGraphicFramePr>
        <p:xfrm>
          <a:off x="1156851" y="2632872"/>
          <a:ext cx="9888496" cy="35816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13877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Actif : context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règlement modifiant le Plan comptable général sur la définition, la comptabilisation et l’évaluation des actifs a été homologué par l’arrêté du 24 décembre 2004 (CRC </a:t>
            </a:r>
            <a:r>
              <a:rPr lang="fr-FR" dirty="0" err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èglt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04-06 du 23 novembre 2004)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s dispositions s’inscrivent dans le cadre de la rénovation des normes comptables françaises et de leur convergence vers le référentiel international de l’IASB.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343994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Actif : définition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définition des actifs rejoint celle retenue dans le référentiel international : un actif est un élément </a:t>
            </a:r>
            <a:r>
              <a:rPr lang="fr-FR" sz="36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able</a:t>
            </a:r>
            <a:r>
              <a:rPr lang="fr-FR" sz="3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patrimoine ayant une valeur économique positive pour l’entité, c’est-à-dire une ressource que l’entité </a:t>
            </a:r>
            <a:r>
              <a:rPr lang="fr-FR" sz="36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rôle</a:t>
            </a:r>
            <a:r>
              <a:rPr lang="fr-FR" sz="3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fait d’événements passés et dont elle attend </a:t>
            </a:r>
            <a:r>
              <a:rPr lang="fr-FR" sz="3600" dirty="0">
                <a:effectLst/>
                <a:highlight>
                  <a:srgbClr val="FFFF00"/>
                </a:highlight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s avantages économiques futurs. </a:t>
            </a: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2169269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sz="5400" dirty="0"/>
              <a:t>Actif : </a:t>
            </a:r>
            <a:r>
              <a:rPr lang="fr-FR" sz="5400" dirty="0">
                <a:highlight>
                  <a:srgbClr val="FFFF00"/>
                </a:highlight>
              </a:rPr>
              <a:t>identifiabl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obilisation corporelle =&gt; aucun soucis</a:t>
            </a:r>
          </a:p>
          <a:p>
            <a:pPr algn="just"/>
            <a:endParaRPr lang="fr-FR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mobilisation incorporelle =&gt; </a:t>
            </a:r>
          </a:p>
          <a:p>
            <a:pPr marL="449580"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si elle est séparable des activités de l’entité, c’est-à-dire susceptible d’être vendue, transférée, louée ou échangée de manière isolée ou avec un contrat, un autre actif ou passif, 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– ou si elle résulte d’un droit légal ou contractuel même si ce droit n’est pas transférable ou séparable de l’entité ou des autres droits et obligations.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0746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sz="5400" dirty="0"/>
              <a:t>Actif : </a:t>
            </a:r>
            <a:r>
              <a:rPr lang="fr-FR" sz="5400" dirty="0">
                <a:highlight>
                  <a:srgbClr val="FFFF00"/>
                </a:highlight>
              </a:rPr>
              <a:t>contrôl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3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critère de propriété (juridique) n’est pas essentiel</a:t>
            </a:r>
          </a:p>
          <a:p>
            <a:pPr marL="0" indent="0" algn="just">
              <a:buNone/>
            </a:pPr>
            <a:r>
              <a:rPr lang="fr-FR" sz="3600" dirty="0"/>
              <a:t>« Substance over </a:t>
            </a:r>
            <a:r>
              <a:rPr lang="fr-FR" sz="3600" dirty="0" err="1"/>
              <a:t>form</a:t>
            </a:r>
            <a:r>
              <a:rPr lang="fr-FR" sz="3600" dirty="0"/>
              <a:t> »</a:t>
            </a:r>
          </a:p>
          <a:p>
            <a:pPr marL="0" indent="0" algn="just">
              <a:buNone/>
            </a:pPr>
            <a:r>
              <a:rPr lang="fr-FR" sz="3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s critères économiques sont à prendre en compte. Le contrôle d’un actif suppose désormais que l’entité ait la maîtrise des avantages économiques et qu’elle assume tout ou partie des risques y afférents (sans pour autant en avoir nécessairement la propriété).</a:t>
            </a:r>
          </a:p>
          <a:p>
            <a:pPr marL="0" indent="0" algn="just">
              <a:buNone/>
            </a:pPr>
            <a:endParaRPr lang="fr-FR" sz="3600" dirty="0"/>
          </a:p>
        </p:txBody>
      </p:sp>
    </p:spTree>
    <p:extLst>
      <p:ext uri="{BB962C8B-B14F-4D97-AF65-F5344CB8AC3E}">
        <p14:creationId xmlns:p14="http://schemas.microsoft.com/office/powerpoint/2010/main" val="2411080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EFCB68E-E041-4E46-A233-3C2208DA3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 fontScale="90000"/>
          </a:bodyPr>
          <a:lstStyle/>
          <a:p>
            <a:r>
              <a:rPr lang="fr-FR" sz="5400" dirty="0"/>
              <a:t>Actif : </a:t>
            </a:r>
            <a:r>
              <a:rPr lang="fr-FR" sz="5400" dirty="0">
                <a:highlight>
                  <a:srgbClr val="FFFF00"/>
                </a:highlight>
              </a:rPr>
              <a:t>Avantage économique futur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FA71A85-160A-4CFF-9241-BA71D421B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2757" y="1920240"/>
            <a:ext cx="10873408" cy="4868186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fr-FR" sz="13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'avantage économique futur représentatif d'un actif est le potentiel qu'a cet actif de contribuer, directement ou indirectement, à des flux nets de trésorerie au bénéfice de l'entreprise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s flux de trésorerie sont ceux attendus de l’exploitation de l’actif ainsi que ceux qui découleront de la revente de celui-ci. Ainsi, un actif qui n’est plus exploité mais qui a une valeur vénale est à maintenir à l’actif. En revanche, une machine mise au rebut et qui ne peut plus être revendue doit être sortie de l’actif.</a:t>
            </a:r>
          </a:p>
          <a:p>
            <a:pPr marL="0" indent="0" algn="just">
              <a:buNone/>
            </a:pPr>
            <a:endParaRPr lang="fr-FR" sz="3600" dirty="0"/>
          </a:p>
        </p:txBody>
      </p:sp>
    </p:spTree>
    <p:extLst>
      <p:ext uri="{BB962C8B-B14F-4D97-AF65-F5344CB8AC3E}">
        <p14:creationId xmlns:p14="http://schemas.microsoft.com/office/powerpoint/2010/main" val="1723624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7200" y="461737"/>
            <a:ext cx="2149361" cy="1870055"/>
          </a:xfrm>
          <a:prstGeom prst="rect">
            <a:avLst/>
          </a:prstGeom>
          <a:solidFill>
            <a:schemeClr val="accent5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752604" y="453981"/>
            <a:ext cx="6675120" cy="1877811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640490-C0F3-44D9-81D6-1745680AD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5213" y="731520"/>
            <a:ext cx="6089904" cy="1426464"/>
          </a:xfrm>
        </p:spPr>
        <p:txBody>
          <a:bodyPr>
            <a:normAutofit/>
          </a:bodyPr>
          <a:lstStyle/>
          <a:p>
            <a:pPr algn="ctr"/>
            <a:r>
              <a:rPr lang="fr-FR" dirty="0">
                <a:solidFill>
                  <a:srgbClr val="FFFFFF"/>
                </a:solidFill>
              </a:rPr>
              <a:t>Immobilisation =&gt; élément de l’actif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86B68C-84BC-4A6E-99D1-EE87483C1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573768" y="453155"/>
            <a:ext cx="2149358" cy="1878638"/>
          </a:xfrm>
          <a:prstGeom prst="rect">
            <a:avLst/>
          </a:prstGeom>
          <a:solidFill>
            <a:srgbClr val="A5A5A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0" y="2480956"/>
            <a:ext cx="11264206" cy="3918122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Espace réservé du contenu 2">
            <a:extLst>
              <a:ext uri="{FF2B5EF4-FFF2-40B4-BE49-F238E27FC236}">
                <a16:creationId xmlns:a16="http://schemas.microsoft.com/office/drawing/2014/main" id="{2BB19B92-6157-48A5-9537-3DD5511B310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9031794"/>
              </p:ext>
            </p:extLst>
          </p:nvPr>
        </p:nvGraphicFramePr>
        <p:xfrm>
          <a:off x="788988" y="2798763"/>
          <a:ext cx="10598150" cy="3282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52992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4" y="448055"/>
            <a:ext cx="3414370" cy="3801257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" y="731519"/>
            <a:ext cx="2845191" cy="3237579"/>
          </a:xfrm>
        </p:spPr>
        <p:txBody>
          <a:bodyPr>
            <a:normAutofit/>
          </a:bodyPr>
          <a:lstStyle/>
          <a:p>
            <a:r>
              <a:rPr lang="fr-FR" sz="3500" dirty="0">
                <a:solidFill>
                  <a:srgbClr val="FFFFFF"/>
                </a:solidFill>
              </a:rPr>
              <a:t>Immobilisation incorporel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6343" y="4419227"/>
            <a:ext cx="3414369" cy="1979852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4603" y="448055"/>
            <a:ext cx="7688475" cy="5952745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9709" y="686862"/>
            <a:ext cx="7037591" cy="5475129"/>
          </a:xfrm>
        </p:spPr>
        <p:txBody>
          <a:bodyPr anchor="ctr">
            <a:normAutofit/>
          </a:bodyPr>
          <a:lstStyle/>
          <a:p>
            <a:r>
              <a:rPr lang="fr-FR" sz="26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immobilisation incorporelle est un actif non monétaire sans substance physique, détenu soit pour produire ou fournir des biens ou des services, soit pour être loué à des tiers, soit à des fins administratives (c’est-à-dire à des fins de gestion interne) et dont l'entité attend qu’il soit utilisé au-delà de l’exercice en cours.</a:t>
            </a:r>
          </a:p>
          <a:p>
            <a:endParaRPr lang="fr-FR" sz="2600"/>
          </a:p>
        </p:txBody>
      </p:sp>
    </p:spTree>
    <p:extLst>
      <p:ext uri="{BB962C8B-B14F-4D97-AF65-F5344CB8AC3E}">
        <p14:creationId xmlns:p14="http://schemas.microsoft.com/office/powerpoint/2010/main" val="7056359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1" y="453981"/>
            <a:ext cx="11274158" cy="1877811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731520"/>
            <a:ext cx="10666145" cy="1426464"/>
          </a:xfrm>
        </p:spPr>
        <p:txBody>
          <a:bodyPr>
            <a:normAutofit/>
          </a:bodyPr>
          <a:lstStyle/>
          <a:p>
            <a:r>
              <a:rPr lang="fr-FR">
                <a:solidFill>
                  <a:srgbClr val="FFFFFF"/>
                </a:solidFill>
              </a:rPr>
              <a:t>Immobilisation corporelle</a:t>
            </a:r>
          </a:p>
        </p:txBody>
      </p:sp>
      <p:sp>
        <p:nvSpPr>
          <p:cNvPr id="22" name="Rectangle 18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0" y="2480956"/>
            <a:ext cx="9006933" cy="3918122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9456" y="2789918"/>
            <a:ext cx="8370393" cy="3300196"/>
          </a:xfrm>
        </p:spPr>
        <p:txBody>
          <a:bodyPr anchor="ctr">
            <a:normAutofit/>
          </a:bodyPr>
          <a:lstStyle/>
          <a:p>
            <a:r>
              <a:rPr lang="fr-FR" sz="26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immobilisation corporelle est un actif physique détenu, et dont l'entité attend qu’il soit utilisé au-delà de l’exercice en cours.</a:t>
            </a:r>
          </a:p>
          <a:p>
            <a:r>
              <a:rPr lang="fr-FR" sz="26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6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 convient d’entendre par « au-delà d’un exercice » une utilisation supérieure à 12 mois (CNC, avis 05-D du Comité d’urgence).</a:t>
            </a:r>
          </a:p>
          <a:p>
            <a:endParaRPr lang="fr-FR" sz="2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86B68C-84BC-4A6E-99D1-EE87483C1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25716" y="2480956"/>
            <a:ext cx="2112264" cy="1898903"/>
          </a:xfrm>
          <a:prstGeom prst="rect">
            <a:avLst/>
          </a:prstGeom>
          <a:solidFill>
            <a:srgbClr val="A5A5A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25716" y="4529023"/>
            <a:ext cx="2107363" cy="1870055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353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1" y="453981"/>
            <a:ext cx="11274158" cy="1877811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731520"/>
            <a:ext cx="10666145" cy="1426464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rgbClr val="FFFFFF"/>
                </a:solidFill>
              </a:rPr>
              <a:t>Immobilisation financière</a:t>
            </a:r>
          </a:p>
        </p:txBody>
      </p:sp>
      <p:sp>
        <p:nvSpPr>
          <p:cNvPr id="22" name="Rectangle 18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0" y="2480956"/>
            <a:ext cx="9006933" cy="3918122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9456" y="2789918"/>
            <a:ext cx="8370393" cy="3300196"/>
          </a:xfrm>
        </p:spPr>
        <p:txBody>
          <a:bodyPr anchor="ctr">
            <a:normAutofit/>
          </a:bodyPr>
          <a:lstStyle/>
          <a:p>
            <a:r>
              <a:rPr lang="fr-FR" sz="2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 sont les titres (durée de détention &gt; 2 ans)</a:t>
            </a:r>
          </a:p>
          <a:p>
            <a:endParaRPr lang="fr-FR" sz="2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86B68C-84BC-4A6E-99D1-EE87483C1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25716" y="2480956"/>
            <a:ext cx="2112264" cy="1898903"/>
          </a:xfrm>
          <a:prstGeom prst="rect">
            <a:avLst/>
          </a:prstGeom>
          <a:solidFill>
            <a:srgbClr val="A5A5A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625716" y="4529023"/>
            <a:ext cx="2107363" cy="1870055"/>
          </a:xfrm>
          <a:prstGeom prst="rect">
            <a:avLst/>
          </a:prstGeom>
          <a:solidFill>
            <a:schemeClr val="accent1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4964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3FB199-37AF-4AEB-91D2-999973453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évisionne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D878E7-F5C5-452B-937D-8840816B6ECF}"/>
              </a:ext>
            </a:extLst>
          </p:cNvPr>
          <p:cNvSpPr txBox="1"/>
          <p:nvPr/>
        </p:nvSpPr>
        <p:spPr>
          <a:xfrm>
            <a:off x="2843428" y="6003837"/>
            <a:ext cx="6505071" cy="405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90A39BD7-E179-4570-8079-E6A295B49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422401"/>
              </p:ext>
            </p:extLst>
          </p:nvPr>
        </p:nvGraphicFramePr>
        <p:xfrm>
          <a:off x="121920" y="1193533"/>
          <a:ext cx="11460443" cy="5160900"/>
        </p:xfrm>
        <a:graphic>
          <a:graphicData uri="http://schemas.openxmlformats.org/drawingml/2006/table">
            <a:tbl>
              <a:tblPr firstRow="1" firstCol="1" bandRow="1">
                <a:solidFill>
                  <a:srgbClr val="F2F2F2">
                    <a:alpha val="30196"/>
                  </a:srgbClr>
                </a:solidFill>
              </a:tblPr>
              <a:tblGrid>
                <a:gridCol w="990464">
                  <a:extLst>
                    <a:ext uri="{9D8B030D-6E8A-4147-A177-3AD203B41FA5}">
                      <a16:colId xmlns:a16="http://schemas.microsoft.com/office/drawing/2014/main" val="421084245"/>
                    </a:ext>
                  </a:extLst>
                </a:gridCol>
                <a:gridCol w="10469979">
                  <a:extLst>
                    <a:ext uri="{9D8B030D-6E8A-4147-A177-3AD203B41FA5}">
                      <a16:colId xmlns:a16="http://schemas.microsoft.com/office/drawing/2014/main" val="3974086313"/>
                    </a:ext>
                  </a:extLst>
                </a:gridCol>
              </a:tblGrid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Séance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9050" cap="flat" cmpd="sng" algn="ctr">
                      <a:noFill/>
                      <a:prstDash val="soli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b="0" cap="none" spc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Contenu des séances</a:t>
                      </a:r>
                      <a:endParaRPr lang="fr-FR" sz="1500" b="0" cap="none" spc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008224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-2-3-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cepts et principes de base de la comptabilité – Le PCG – Les différentes classes – LAB -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01333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5-6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– Les documents comptables – Les normes internationales =&gt; après le bilan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1204828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7-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compte de résultat - Analyse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72546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9-10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bilan – Analyse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16633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1-12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comptabilisation 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6539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3-14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– La TVA 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858747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5-16</a:t>
                      </a:r>
                      <a:endParaRPr lang="fr-FR" sz="1500" cap="none" spc="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38100" cap="flat" cmpd="sng" algn="ctr">
                      <a:noFill/>
                      <a:prstDash val="soli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ttes à LT et autres dettes - les capitaux propres – Les provisions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Les immobilisations</a:t>
                      </a: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fr-FR" sz="1500" cap="none" spc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FRS 16</a:t>
                      </a:r>
                    </a:p>
                  </a:txBody>
                  <a:tcPr marL="123949" marR="71509" marT="95345" marB="95345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6350" cap="flat" cmpd="sng" algn="ctr">
                      <a:noFill/>
                      <a:prstDash val="solid"/>
                    </a:lnB>
                    <a:solidFill>
                      <a:srgbClr val="F2F2F2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203615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17-18</a:t>
                      </a: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écritures d’inventair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093419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-20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’annexe</a:t>
                      </a: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96521"/>
                  </a:ext>
                </a:extLst>
              </a:tr>
              <a:tr h="451301">
                <a:tc>
                  <a:txBody>
                    <a:bodyPr/>
                    <a:lstStyle/>
                    <a:p>
                      <a:pPr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-22</a:t>
                      </a:r>
                    </a:p>
                  </a:txBody>
                  <a:tcPr marL="123949" marR="71509" marT="95345" marB="95345" anchor="ctr">
                    <a:lnL w="6350" cap="flat" cmpd="sng" algn="ctr">
                      <a:noFill/>
                      <a:prstDash val="solid"/>
                    </a:lnL>
                    <a:lnR w="6350" cap="flat" cmpd="sng" algn="ctr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3978910" algn="l"/>
                        </a:tabLst>
                      </a:pPr>
                      <a:r>
                        <a:rPr lang="fr-FR" sz="1500" cap="none" spc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s points particuliers – La TVA – Affectation du résultat</a:t>
                      </a:r>
                    </a:p>
                    <a:p>
                      <a:pPr algn="just">
                        <a:tabLst>
                          <a:tab pos="3978910" algn="l"/>
                        </a:tabLst>
                      </a:pPr>
                      <a:endParaRPr lang="fr-FR" sz="1500" cap="none" spc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23949" marR="71509" marT="95345" marB="95345">
                    <a:lnL w="6350" cap="flat" cmpd="sng" algn="ctr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4891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6914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" name="Rectangle 28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4BAECA-A9E7-4228-AF29-CC35BA2FA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824" y="735106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appel – position </a:t>
            </a:r>
            <a:r>
              <a:rPr lang="en-US" sz="48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iscale</a:t>
            </a:r>
            <a:endParaRPr lang="en-US" sz="48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DADE19F3-635F-4ED7-91EC-7D07BAA72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682" y="4870824"/>
            <a:ext cx="10005951" cy="14582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 PU HT &lt; 500 € =&gt; charges </a:t>
            </a: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ectement</a:t>
            </a:r>
            <a:endParaRPr lang="en-US" sz="4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r>
              <a:rPr lang="en-US" sz="4000" dirty="0"/>
              <a:t>Exception =&gt; première acquisition </a:t>
            </a:r>
            <a:r>
              <a:rPr lang="en-US" sz="4000" dirty="0" err="1"/>
              <a:t>si</a:t>
            </a:r>
            <a:r>
              <a:rPr lang="en-US" sz="4000" dirty="0"/>
              <a:t> volume</a:t>
            </a:r>
            <a:endParaRPr lang="en-US" sz="4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3977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amortissements</a:t>
            </a:r>
          </a:p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Retour au sujet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5717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33F55A5-F0D8-4923-9022-ADF91DBEA2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868" b="1863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0302103-84FE-4480-B011-DA713F71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6619811" cy="1344975"/>
          </a:xfrm>
        </p:spPr>
        <p:txBody>
          <a:bodyPr>
            <a:normAutofit fontScale="90000"/>
          </a:bodyPr>
          <a:lstStyle/>
          <a:p>
            <a:r>
              <a:rPr lang="fr-FR" sz="4000" dirty="0"/>
              <a:t>Amortissement </a:t>
            </a:r>
            <a:br>
              <a:rPr lang="fr-FR" sz="4000" dirty="0"/>
            </a:br>
            <a:r>
              <a:rPr lang="fr-FR" sz="4000" dirty="0"/>
              <a:t>= </a:t>
            </a:r>
            <a:br>
              <a:rPr lang="fr-FR" sz="4000" dirty="0"/>
            </a:br>
            <a:r>
              <a:rPr lang="fr-FR" sz="4000" dirty="0"/>
              <a:t>perte de valeur irréversible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2F997F44-93CA-4919-BCD6-0C6F18BCDBA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2579370"/>
              </p:ext>
            </p:extLst>
          </p:nvPr>
        </p:nvGraphicFramePr>
        <p:xfrm>
          <a:off x="594109" y="2121763"/>
          <a:ext cx="6620505" cy="3773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892299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228552E-C8B1-4A80-8448-0787CE0FC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3F55A5-F0D8-4923-9022-ADF91DBEA25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 t="8268" b="7462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70302103-84FE-4480-B011-DA713F71A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endParaRPr lang="fr-FR">
              <a:solidFill>
                <a:srgbClr val="FFFFFF"/>
              </a:solidFill>
            </a:endParaRP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2F997F44-93CA-4919-BCD6-0C6F18BCDBA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529107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12986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908A016-1E9A-4DAD-AFB1-78E502EBD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6995"/>
            <a:ext cx="10515600" cy="1133693"/>
          </a:xfrm>
        </p:spPr>
        <p:txBody>
          <a:bodyPr>
            <a:normAutofit/>
          </a:bodyPr>
          <a:lstStyle/>
          <a:p>
            <a:r>
              <a:rPr lang="fr-FR" sz="5200"/>
              <a:t>Immobilisation amortissable</a:t>
            </a:r>
          </a:p>
        </p:txBody>
      </p:sp>
      <p:graphicFrame>
        <p:nvGraphicFramePr>
          <p:cNvPr id="7" name="Espace réservé du contenu 2">
            <a:extLst>
              <a:ext uri="{FF2B5EF4-FFF2-40B4-BE49-F238E27FC236}">
                <a16:creationId xmlns:a16="http://schemas.microsoft.com/office/drawing/2014/main" id="{76BAA54C-1744-476C-B424-49C14E6B068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960152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64353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B4BD8A2-5C77-4F6B-ACB6-AB917A0C0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095" y="851517"/>
            <a:ext cx="5238466" cy="29914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ut d’acquisi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7BC496-97F0-4F08-B182-396A614F80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4096" y="3842932"/>
            <a:ext cx="4167115" cy="216355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’est</a:t>
            </a:r>
            <a:r>
              <a: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 </a:t>
            </a: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ût</a:t>
            </a:r>
            <a:r>
              <a: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’entrée</a:t>
            </a:r>
            <a:r>
              <a: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au </a:t>
            </a: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ût</a:t>
            </a:r>
            <a:r>
              <a:rPr lang="en-US" sz="4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4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storique</a:t>
            </a:r>
            <a:endParaRPr lang="en-US" sz="4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Graphic 6" descr="Coche">
            <a:extLst>
              <a:ext uri="{FF2B5EF4-FFF2-40B4-BE49-F238E27FC236}">
                <a16:creationId xmlns:a16="http://schemas.microsoft.com/office/drawing/2014/main" id="{E889F2CB-776F-4113-951A-136AF7AF2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5145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7200" y="461737"/>
            <a:ext cx="2149361" cy="1870055"/>
          </a:xfrm>
          <a:prstGeom prst="rect">
            <a:avLst/>
          </a:prstGeom>
          <a:solidFill>
            <a:schemeClr val="accent5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752604" y="453981"/>
            <a:ext cx="6675120" cy="1877811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D513513-2F52-4253-AF63-2B569A3E0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5213" y="731520"/>
            <a:ext cx="6089904" cy="1426464"/>
          </a:xfrm>
        </p:spPr>
        <p:txBody>
          <a:bodyPr>
            <a:normAutofit/>
          </a:bodyPr>
          <a:lstStyle/>
          <a:p>
            <a:pPr algn="ctr"/>
            <a:r>
              <a:rPr lang="fr-FR">
                <a:solidFill>
                  <a:srgbClr val="FFFFFF"/>
                </a:solidFill>
              </a:rPr>
              <a:t>Le coût d’acquisi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86B68C-84BC-4A6E-99D1-EE87483C1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573768" y="453155"/>
            <a:ext cx="2149358" cy="1878638"/>
          </a:xfrm>
          <a:prstGeom prst="rect">
            <a:avLst/>
          </a:prstGeom>
          <a:solidFill>
            <a:srgbClr val="A5A5A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0" y="2480956"/>
            <a:ext cx="11264206" cy="3918122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60A3C58A-134C-4B52-A66C-326E23765F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3932437"/>
              </p:ext>
            </p:extLst>
          </p:nvPr>
        </p:nvGraphicFramePr>
        <p:xfrm>
          <a:off x="788988" y="3108321"/>
          <a:ext cx="10598150" cy="2663835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0598150">
                  <a:extLst>
                    <a:ext uri="{9D8B030D-6E8A-4147-A177-3AD203B41FA5}">
                      <a16:colId xmlns:a16="http://schemas.microsoft.com/office/drawing/2014/main" val="652572838"/>
                    </a:ext>
                  </a:extLst>
                </a:gridCol>
              </a:tblGrid>
              <a:tr h="1313672">
                <a:tc>
                  <a:txBody>
                    <a:bodyPr/>
                    <a:lstStyle/>
                    <a:p>
                      <a:pPr algn="l"/>
                      <a:r>
                        <a:rPr lang="fr-FR" sz="2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Prix d'achat H.T de l'immobilisation</a:t>
                      </a:r>
                    </a:p>
                    <a:p>
                      <a:pPr algn="l"/>
                      <a:r>
                        <a:rPr lang="fr-FR" sz="2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(après rabais, remise, ristourne et escompte =&gt; Net financier)</a:t>
                      </a:r>
                    </a:p>
                  </a:txBody>
                  <a:tcPr marL="68420" marR="684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554278"/>
                  </a:ext>
                </a:extLst>
              </a:tr>
              <a:tr h="887945">
                <a:tc>
                  <a:txBody>
                    <a:bodyPr/>
                    <a:lstStyle/>
                    <a:p>
                      <a:pPr algn="l"/>
                      <a:r>
                        <a:rPr lang="fr-FR" sz="2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Frais accessoires H.T nécessaires à la mise en état d'utilisation</a:t>
                      </a:r>
                    </a:p>
                  </a:txBody>
                  <a:tcPr marL="68420" marR="684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783743"/>
                  </a:ext>
                </a:extLst>
              </a:tr>
              <a:tr h="462218">
                <a:tc>
                  <a:txBody>
                    <a:bodyPr/>
                    <a:lstStyle/>
                    <a:p>
                      <a:pPr algn="l"/>
                      <a:r>
                        <a:rPr lang="fr-FR" sz="28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= Valeur d'entrée de l'immobilisation</a:t>
                      </a:r>
                      <a:endParaRPr lang="fr-FR" sz="28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420" marR="684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359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2363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68639B9-77A1-4188-9120-BBBC0852D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fr-FR" sz="26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accessoires à intégrer obligatoirement</a:t>
            </a:r>
            <a:endParaRPr lang="fr-FR" sz="2600"/>
          </a:p>
        </p:txBody>
      </p:sp>
      <p:sp>
        <p:nvSpPr>
          <p:cNvPr id="22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378E892E-3B3E-4743-AFE3-FFD5DEEECD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0954283"/>
              </p:ext>
            </p:extLst>
          </p:nvPr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17729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35DB3719-6FDC-4E5D-891D-FF40B730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68639B9-77A1-4188-9120-BBBC0852D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42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accessoires à intégrer sur options</a:t>
            </a:r>
            <a:endParaRPr lang="fr-FR" sz="4200"/>
          </a:p>
        </p:txBody>
      </p:sp>
      <p:sp>
        <p:nvSpPr>
          <p:cNvPr id="22" name="sketch line">
            <a:extLst>
              <a:ext uri="{FF2B5EF4-FFF2-40B4-BE49-F238E27FC236}">
                <a16:creationId xmlns:a16="http://schemas.microsoft.com/office/drawing/2014/main" id="{E0CBAC23-2E3F-4A90-BA59-F8299F6A54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1865313"/>
            <a:ext cx="10424160" cy="18288"/>
          </a:xfrm>
          <a:custGeom>
            <a:avLst/>
            <a:gdLst>
              <a:gd name="connsiteX0" fmla="*/ 0 w 10424160"/>
              <a:gd name="connsiteY0" fmla="*/ 0 h 18288"/>
              <a:gd name="connsiteX1" fmla="*/ 903427 w 10424160"/>
              <a:gd name="connsiteY1" fmla="*/ 0 h 18288"/>
              <a:gd name="connsiteX2" fmla="*/ 1389888 w 10424160"/>
              <a:gd name="connsiteY2" fmla="*/ 0 h 18288"/>
              <a:gd name="connsiteX3" fmla="*/ 2189074 w 10424160"/>
              <a:gd name="connsiteY3" fmla="*/ 0 h 18288"/>
              <a:gd name="connsiteX4" fmla="*/ 2675534 w 10424160"/>
              <a:gd name="connsiteY4" fmla="*/ 0 h 18288"/>
              <a:gd name="connsiteX5" fmla="*/ 3370478 w 10424160"/>
              <a:gd name="connsiteY5" fmla="*/ 0 h 18288"/>
              <a:gd name="connsiteX6" fmla="*/ 4169664 w 10424160"/>
              <a:gd name="connsiteY6" fmla="*/ 0 h 18288"/>
              <a:gd name="connsiteX7" fmla="*/ 4551883 w 10424160"/>
              <a:gd name="connsiteY7" fmla="*/ 0 h 18288"/>
              <a:gd name="connsiteX8" fmla="*/ 4934102 w 10424160"/>
              <a:gd name="connsiteY8" fmla="*/ 0 h 18288"/>
              <a:gd name="connsiteX9" fmla="*/ 5837530 w 10424160"/>
              <a:gd name="connsiteY9" fmla="*/ 0 h 18288"/>
              <a:gd name="connsiteX10" fmla="*/ 6532474 w 10424160"/>
              <a:gd name="connsiteY10" fmla="*/ 0 h 18288"/>
              <a:gd name="connsiteX11" fmla="*/ 6914693 w 10424160"/>
              <a:gd name="connsiteY11" fmla="*/ 0 h 18288"/>
              <a:gd name="connsiteX12" fmla="*/ 7609637 w 10424160"/>
              <a:gd name="connsiteY12" fmla="*/ 0 h 18288"/>
              <a:gd name="connsiteX13" fmla="*/ 8513064 w 10424160"/>
              <a:gd name="connsiteY13" fmla="*/ 0 h 18288"/>
              <a:gd name="connsiteX14" fmla="*/ 9103766 w 10424160"/>
              <a:gd name="connsiteY14" fmla="*/ 0 h 18288"/>
              <a:gd name="connsiteX15" fmla="*/ 9694469 w 10424160"/>
              <a:gd name="connsiteY15" fmla="*/ 0 h 18288"/>
              <a:gd name="connsiteX16" fmla="*/ 10424160 w 10424160"/>
              <a:gd name="connsiteY16" fmla="*/ 0 h 18288"/>
              <a:gd name="connsiteX17" fmla="*/ 10424160 w 10424160"/>
              <a:gd name="connsiteY17" fmla="*/ 18288 h 18288"/>
              <a:gd name="connsiteX18" fmla="*/ 9729216 w 10424160"/>
              <a:gd name="connsiteY18" fmla="*/ 18288 h 18288"/>
              <a:gd name="connsiteX19" fmla="*/ 8930030 w 10424160"/>
              <a:gd name="connsiteY19" fmla="*/ 18288 h 18288"/>
              <a:gd name="connsiteX20" fmla="*/ 8130845 w 10424160"/>
              <a:gd name="connsiteY20" fmla="*/ 18288 h 18288"/>
              <a:gd name="connsiteX21" fmla="*/ 7644384 w 10424160"/>
              <a:gd name="connsiteY21" fmla="*/ 18288 h 18288"/>
              <a:gd name="connsiteX22" fmla="*/ 6740957 w 10424160"/>
              <a:gd name="connsiteY22" fmla="*/ 18288 h 18288"/>
              <a:gd name="connsiteX23" fmla="*/ 6046013 w 10424160"/>
              <a:gd name="connsiteY23" fmla="*/ 18288 h 18288"/>
              <a:gd name="connsiteX24" fmla="*/ 5663794 w 10424160"/>
              <a:gd name="connsiteY24" fmla="*/ 18288 h 18288"/>
              <a:gd name="connsiteX25" fmla="*/ 4968850 w 10424160"/>
              <a:gd name="connsiteY25" fmla="*/ 18288 h 18288"/>
              <a:gd name="connsiteX26" fmla="*/ 4378147 w 10424160"/>
              <a:gd name="connsiteY26" fmla="*/ 18288 h 18288"/>
              <a:gd name="connsiteX27" fmla="*/ 3787445 w 10424160"/>
              <a:gd name="connsiteY27" fmla="*/ 18288 h 18288"/>
              <a:gd name="connsiteX28" fmla="*/ 3196742 w 10424160"/>
              <a:gd name="connsiteY28" fmla="*/ 18288 h 18288"/>
              <a:gd name="connsiteX29" fmla="*/ 2606040 w 10424160"/>
              <a:gd name="connsiteY29" fmla="*/ 18288 h 18288"/>
              <a:gd name="connsiteX30" fmla="*/ 1806854 w 10424160"/>
              <a:gd name="connsiteY30" fmla="*/ 18288 h 18288"/>
              <a:gd name="connsiteX31" fmla="*/ 1111910 w 10424160"/>
              <a:gd name="connsiteY31" fmla="*/ 18288 h 18288"/>
              <a:gd name="connsiteX32" fmla="*/ 729691 w 10424160"/>
              <a:gd name="connsiteY32" fmla="*/ 18288 h 18288"/>
              <a:gd name="connsiteX33" fmla="*/ 0 w 10424160"/>
              <a:gd name="connsiteY33" fmla="*/ 18288 h 18288"/>
              <a:gd name="connsiteX34" fmla="*/ 0 w 10424160"/>
              <a:gd name="connsiteY34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0424160" h="18288" fill="none" extrusionOk="0">
                <a:moveTo>
                  <a:pt x="0" y="0"/>
                </a:moveTo>
                <a:cubicBezTo>
                  <a:pt x="251416" y="-3874"/>
                  <a:pt x="479411" y="-20508"/>
                  <a:pt x="903427" y="0"/>
                </a:cubicBezTo>
                <a:cubicBezTo>
                  <a:pt x="1327443" y="20508"/>
                  <a:pt x="1177990" y="-7387"/>
                  <a:pt x="1389888" y="0"/>
                </a:cubicBezTo>
                <a:cubicBezTo>
                  <a:pt x="1601786" y="7387"/>
                  <a:pt x="1928602" y="-6697"/>
                  <a:pt x="2189074" y="0"/>
                </a:cubicBezTo>
                <a:cubicBezTo>
                  <a:pt x="2449546" y="6697"/>
                  <a:pt x="2440085" y="-21144"/>
                  <a:pt x="2675534" y="0"/>
                </a:cubicBezTo>
                <a:cubicBezTo>
                  <a:pt x="2910983" y="21144"/>
                  <a:pt x="3026158" y="-11124"/>
                  <a:pt x="3370478" y="0"/>
                </a:cubicBezTo>
                <a:cubicBezTo>
                  <a:pt x="3714798" y="11124"/>
                  <a:pt x="3864539" y="-10660"/>
                  <a:pt x="4169664" y="0"/>
                </a:cubicBezTo>
                <a:cubicBezTo>
                  <a:pt x="4474789" y="10660"/>
                  <a:pt x="4471218" y="16488"/>
                  <a:pt x="4551883" y="0"/>
                </a:cubicBezTo>
                <a:cubicBezTo>
                  <a:pt x="4632548" y="-16488"/>
                  <a:pt x="4786830" y="7986"/>
                  <a:pt x="4934102" y="0"/>
                </a:cubicBezTo>
                <a:cubicBezTo>
                  <a:pt x="5081374" y="-7986"/>
                  <a:pt x="5575881" y="-33003"/>
                  <a:pt x="5837530" y="0"/>
                </a:cubicBezTo>
                <a:cubicBezTo>
                  <a:pt x="6099179" y="33003"/>
                  <a:pt x="6305895" y="14170"/>
                  <a:pt x="6532474" y="0"/>
                </a:cubicBezTo>
                <a:cubicBezTo>
                  <a:pt x="6759053" y="-14170"/>
                  <a:pt x="6726707" y="16121"/>
                  <a:pt x="6914693" y="0"/>
                </a:cubicBezTo>
                <a:cubicBezTo>
                  <a:pt x="7102679" y="-16121"/>
                  <a:pt x="7397857" y="32594"/>
                  <a:pt x="7609637" y="0"/>
                </a:cubicBezTo>
                <a:cubicBezTo>
                  <a:pt x="7821417" y="-32594"/>
                  <a:pt x="8141235" y="-3745"/>
                  <a:pt x="8513064" y="0"/>
                </a:cubicBezTo>
                <a:cubicBezTo>
                  <a:pt x="8884893" y="3745"/>
                  <a:pt x="8877548" y="3359"/>
                  <a:pt x="9103766" y="0"/>
                </a:cubicBezTo>
                <a:cubicBezTo>
                  <a:pt x="9329984" y="-3359"/>
                  <a:pt x="9545570" y="-17843"/>
                  <a:pt x="9694469" y="0"/>
                </a:cubicBezTo>
                <a:cubicBezTo>
                  <a:pt x="9843368" y="17843"/>
                  <a:pt x="10162477" y="-1217"/>
                  <a:pt x="10424160" y="0"/>
                </a:cubicBezTo>
                <a:cubicBezTo>
                  <a:pt x="10424498" y="7640"/>
                  <a:pt x="10423710" y="11289"/>
                  <a:pt x="10424160" y="18288"/>
                </a:cubicBezTo>
                <a:cubicBezTo>
                  <a:pt x="10184680" y="20716"/>
                  <a:pt x="10034768" y="-9357"/>
                  <a:pt x="9729216" y="18288"/>
                </a:cubicBezTo>
                <a:cubicBezTo>
                  <a:pt x="9423664" y="45933"/>
                  <a:pt x="9309220" y="36372"/>
                  <a:pt x="8930030" y="18288"/>
                </a:cubicBezTo>
                <a:cubicBezTo>
                  <a:pt x="8550840" y="204"/>
                  <a:pt x="8513376" y="34707"/>
                  <a:pt x="8130845" y="18288"/>
                </a:cubicBezTo>
                <a:cubicBezTo>
                  <a:pt x="7748315" y="1869"/>
                  <a:pt x="7864674" y="19659"/>
                  <a:pt x="7644384" y="18288"/>
                </a:cubicBezTo>
                <a:cubicBezTo>
                  <a:pt x="7424094" y="16917"/>
                  <a:pt x="6947001" y="55680"/>
                  <a:pt x="6740957" y="18288"/>
                </a:cubicBezTo>
                <a:cubicBezTo>
                  <a:pt x="6534913" y="-19104"/>
                  <a:pt x="6313809" y="33391"/>
                  <a:pt x="6046013" y="18288"/>
                </a:cubicBezTo>
                <a:cubicBezTo>
                  <a:pt x="5778217" y="3185"/>
                  <a:pt x="5786775" y="1439"/>
                  <a:pt x="5663794" y="18288"/>
                </a:cubicBezTo>
                <a:cubicBezTo>
                  <a:pt x="5540813" y="35137"/>
                  <a:pt x="5204724" y="25434"/>
                  <a:pt x="4968850" y="18288"/>
                </a:cubicBezTo>
                <a:cubicBezTo>
                  <a:pt x="4732976" y="11142"/>
                  <a:pt x="4559928" y="34568"/>
                  <a:pt x="4378147" y="18288"/>
                </a:cubicBezTo>
                <a:cubicBezTo>
                  <a:pt x="4196366" y="2008"/>
                  <a:pt x="3992200" y="35409"/>
                  <a:pt x="3787445" y="18288"/>
                </a:cubicBezTo>
                <a:cubicBezTo>
                  <a:pt x="3582690" y="1167"/>
                  <a:pt x="3488876" y="-7583"/>
                  <a:pt x="3196742" y="18288"/>
                </a:cubicBezTo>
                <a:cubicBezTo>
                  <a:pt x="2904608" y="44159"/>
                  <a:pt x="2729828" y="45906"/>
                  <a:pt x="2606040" y="18288"/>
                </a:cubicBezTo>
                <a:cubicBezTo>
                  <a:pt x="2482252" y="-9330"/>
                  <a:pt x="2000672" y="-5498"/>
                  <a:pt x="1806854" y="18288"/>
                </a:cubicBezTo>
                <a:cubicBezTo>
                  <a:pt x="1613036" y="42074"/>
                  <a:pt x="1310933" y="-4240"/>
                  <a:pt x="1111910" y="18288"/>
                </a:cubicBezTo>
                <a:cubicBezTo>
                  <a:pt x="912887" y="40816"/>
                  <a:pt x="891560" y="1701"/>
                  <a:pt x="729691" y="18288"/>
                </a:cubicBezTo>
                <a:cubicBezTo>
                  <a:pt x="567822" y="34875"/>
                  <a:pt x="203025" y="34462"/>
                  <a:pt x="0" y="18288"/>
                </a:cubicBezTo>
                <a:cubicBezTo>
                  <a:pt x="-82" y="11708"/>
                  <a:pt x="-178" y="8956"/>
                  <a:pt x="0" y="0"/>
                </a:cubicBezTo>
                <a:close/>
              </a:path>
              <a:path w="10424160" h="18288" stroke="0" extrusionOk="0">
                <a:moveTo>
                  <a:pt x="0" y="0"/>
                </a:moveTo>
                <a:cubicBezTo>
                  <a:pt x="119910" y="17195"/>
                  <a:pt x="345032" y="1652"/>
                  <a:pt x="590702" y="0"/>
                </a:cubicBezTo>
                <a:cubicBezTo>
                  <a:pt x="836372" y="-1652"/>
                  <a:pt x="830717" y="-10944"/>
                  <a:pt x="972922" y="0"/>
                </a:cubicBezTo>
                <a:cubicBezTo>
                  <a:pt x="1115127" y="10944"/>
                  <a:pt x="1638708" y="17269"/>
                  <a:pt x="1876349" y="0"/>
                </a:cubicBezTo>
                <a:cubicBezTo>
                  <a:pt x="2113990" y="-17269"/>
                  <a:pt x="2263529" y="27642"/>
                  <a:pt x="2467051" y="0"/>
                </a:cubicBezTo>
                <a:cubicBezTo>
                  <a:pt x="2670573" y="-27642"/>
                  <a:pt x="2867743" y="-1552"/>
                  <a:pt x="3057754" y="0"/>
                </a:cubicBezTo>
                <a:cubicBezTo>
                  <a:pt x="3247765" y="1552"/>
                  <a:pt x="3729099" y="45169"/>
                  <a:pt x="3961181" y="0"/>
                </a:cubicBezTo>
                <a:cubicBezTo>
                  <a:pt x="4193263" y="-45169"/>
                  <a:pt x="4313735" y="4067"/>
                  <a:pt x="4447642" y="0"/>
                </a:cubicBezTo>
                <a:cubicBezTo>
                  <a:pt x="4581549" y="-4067"/>
                  <a:pt x="5123626" y="11867"/>
                  <a:pt x="5351069" y="0"/>
                </a:cubicBezTo>
                <a:cubicBezTo>
                  <a:pt x="5578512" y="-11867"/>
                  <a:pt x="6044105" y="-19983"/>
                  <a:pt x="6254496" y="0"/>
                </a:cubicBezTo>
                <a:cubicBezTo>
                  <a:pt x="6464887" y="19983"/>
                  <a:pt x="6664731" y="4232"/>
                  <a:pt x="6949440" y="0"/>
                </a:cubicBezTo>
                <a:cubicBezTo>
                  <a:pt x="7234149" y="-4232"/>
                  <a:pt x="7497205" y="28731"/>
                  <a:pt x="7852867" y="0"/>
                </a:cubicBezTo>
                <a:cubicBezTo>
                  <a:pt x="8208529" y="-28731"/>
                  <a:pt x="8287556" y="2616"/>
                  <a:pt x="8443570" y="0"/>
                </a:cubicBezTo>
                <a:cubicBezTo>
                  <a:pt x="8599584" y="-2616"/>
                  <a:pt x="8871283" y="-14113"/>
                  <a:pt x="9034272" y="0"/>
                </a:cubicBezTo>
                <a:cubicBezTo>
                  <a:pt x="9197261" y="14113"/>
                  <a:pt x="9604978" y="-35623"/>
                  <a:pt x="9833458" y="0"/>
                </a:cubicBezTo>
                <a:cubicBezTo>
                  <a:pt x="10061938" y="35623"/>
                  <a:pt x="10231944" y="-8194"/>
                  <a:pt x="10424160" y="0"/>
                </a:cubicBezTo>
                <a:cubicBezTo>
                  <a:pt x="10424285" y="4395"/>
                  <a:pt x="10424085" y="9776"/>
                  <a:pt x="10424160" y="18288"/>
                </a:cubicBezTo>
                <a:cubicBezTo>
                  <a:pt x="10058736" y="-5772"/>
                  <a:pt x="9942989" y="-18764"/>
                  <a:pt x="9624974" y="18288"/>
                </a:cubicBezTo>
                <a:cubicBezTo>
                  <a:pt x="9306959" y="55340"/>
                  <a:pt x="9229263" y="24995"/>
                  <a:pt x="8930030" y="18288"/>
                </a:cubicBezTo>
                <a:cubicBezTo>
                  <a:pt x="8630797" y="11581"/>
                  <a:pt x="8647263" y="10931"/>
                  <a:pt x="8547811" y="18288"/>
                </a:cubicBezTo>
                <a:cubicBezTo>
                  <a:pt x="8448359" y="25645"/>
                  <a:pt x="8173221" y="219"/>
                  <a:pt x="8061350" y="18288"/>
                </a:cubicBezTo>
                <a:cubicBezTo>
                  <a:pt x="7949479" y="36357"/>
                  <a:pt x="7437002" y="17516"/>
                  <a:pt x="7157923" y="18288"/>
                </a:cubicBezTo>
                <a:cubicBezTo>
                  <a:pt x="6878844" y="19060"/>
                  <a:pt x="6610241" y="8864"/>
                  <a:pt x="6462979" y="18288"/>
                </a:cubicBezTo>
                <a:cubicBezTo>
                  <a:pt x="6315717" y="27712"/>
                  <a:pt x="6124879" y="4989"/>
                  <a:pt x="5976518" y="18288"/>
                </a:cubicBezTo>
                <a:cubicBezTo>
                  <a:pt x="5828157" y="31587"/>
                  <a:pt x="5566880" y="7112"/>
                  <a:pt x="5281574" y="18288"/>
                </a:cubicBezTo>
                <a:cubicBezTo>
                  <a:pt x="4996268" y="29464"/>
                  <a:pt x="5085614" y="20493"/>
                  <a:pt x="4899355" y="18288"/>
                </a:cubicBezTo>
                <a:cubicBezTo>
                  <a:pt x="4713096" y="16083"/>
                  <a:pt x="4606138" y="34359"/>
                  <a:pt x="4517136" y="18288"/>
                </a:cubicBezTo>
                <a:cubicBezTo>
                  <a:pt x="4428134" y="2217"/>
                  <a:pt x="4125335" y="52414"/>
                  <a:pt x="3822192" y="18288"/>
                </a:cubicBezTo>
                <a:cubicBezTo>
                  <a:pt x="3519049" y="-15838"/>
                  <a:pt x="3453132" y="3859"/>
                  <a:pt x="3335731" y="18288"/>
                </a:cubicBezTo>
                <a:cubicBezTo>
                  <a:pt x="3218330" y="32717"/>
                  <a:pt x="2718749" y="-13936"/>
                  <a:pt x="2536546" y="18288"/>
                </a:cubicBezTo>
                <a:cubicBezTo>
                  <a:pt x="2354343" y="50512"/>
                  <a:pt x="2190669" y="3238"/>
                  <a:pt x="2050085" y="18288"/>
                </a:cubicBezTo>
                <a:cubicBezTo>
                  <a:pt x="1909501" y="33338"/>
                  <a:pt x="1520975" y="3062"/>
                  <a:pt x="1250899" y="18288"/>
                </a:cubicBezTo>
                <a:cubicBezTo>
                  <a:pt x="980823" y="33514"/>
                  <a:pt x="992936" y="28036"/>
                  <a:pt x="868680" y="18288"/>
                </a:cubicBezTo>
                <a:cubicBezTo>
                  <a:pt x="744424" y="8540"/>
                  <a:pt x="230364" y="33365"/>
                  <a:pt x="0" y="18288"/>
                </a:cubicBezTo>
                <a:cubicBezTo>
                  <a:pt x="-504" y="12101"/>
                  <a:pt x="-591" y="7719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378E892E-3B3E-4743-AFE3-FFD5DEEECD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0918705"/>
              </p:ext>
            </p:extLst>
          </p:nvPr>
        </p:nvGraphicFramePr>
        <p:xfrm>
          <a:off x="838200" y="2228087"/>
          <a:ext cx="10515600" cy="394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514466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240" y="1050595"/>
            <a:ext cx="8074815" cy="161848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7200" kern="1200" dirty="0" err="1">
                <a:latin typeface="+mj-lt"/>
                <a:ea typeface="+mj-ea"/>
                <a:cs typeface="+mj-cs"/>
              </a:rPr>
              <a:t>Exemple</a:t>
            </a:r>
            <a:r>
              <a:rPr lang="en-US" sz="7200" kern="1200" dirty="0">
                <a:latin typeface="+mj-lt"/>
                <a:ea typeface="+mj-ea"/>
                <a:cs typeface="+mj-cs"/>
              </a:rPr>
              <a:t> A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5240" y="2969469"/>
            <a:ext cx="8830310" cy="280039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x d'achat d'une machine outil : 200 000,00 € H.T.</a:t>
            </a:r>
          </a:p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d'installation 25 000,00 € H.T.</a:t>
            </a:r>
          </a:p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de montage 50 000,00 € H.T.</a:t>
            </a:r>
          </a:p>
        </p:txBody>
      </p:sp>
    </p:spTree>
    <p:extLst>
      <p:ext uri="{BB962C8B-B14F-4D97-AF65-F5344CB8AC3E}">
        <p14:creationId xmlns:p14="http://schemas.microsoft.com/office/powerpoint/2010/main" val="518596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4" name="Rectangle 83">
            <a:extLst>
              <a:ext uri="{FF2B5EF4-FFF2-40B4-BE49-F238E27FC236}">
                <a16:creationId xmlns:a16="http://schemas.microsoft.com/office/drawing/2014/main" id="{23E547B5-89CF-4EC0-96DE-25771AED0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F0B8CEB-8279-4E5E-A0CE-1FC9F71736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782" y="0"/>
            <a:ext cx="7421217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0466" y="609600"/>
            <a:ext cx="4140014" cy="1330839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/>
            </a:br>
            <a:endParaRPr lang="en-US" sz="280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6675" r="16676" b="1"/>
          <a:stretch/>
        </p:blipFill>
        <p:spPr>
          <a:xfrm>
            <a:off x="20" y="10"/>
            <a:ext cx="6901711" cy="6857990"/>
          </a:xfrm>
          <a:custGeom>
            <a:avLst/>
            <a:gdLst/>
            <a:ahLst/>
            <a:cxnLst/>
            <a:rect l="l" t="t" r="r" b="b"/>
            <a:pathLst>
              <a:path w="6901731" h="6858000">
                <a:moveTo>
                  <a:pt x="0" y="0"/>
                </a:moveTo>
                <a:lnTo>
                  <a:pt x="6897896" y="5958"/>
                </a:lnTo>
                <a:lnTo>
                  <a:pt x="6866823" y="62592"/>
                </a:lnTo>
                <a:lnTo>
                  <a:pt x="6901731" y="89476"/>
                </a:lnTo>
                <a:lnTo>
                  <a:pt x="6901731" y="103833"/>
                </a:lnTo>
                <a:lnTo>
                  <a:pt x="6900034" y="110092"/>
                </a:lnTo>
                <a:lnTo>
                  <a:pt x="6901731" y="113679"/>
                </a:lnTo>
                <a:lnTo>
                  <a:pt x="6901731" y="405560"/>
                </a:lnTo>
                <a:lnTo>
                  <a:pt x="6900456" y="429509"/>
                </a:lnTo>
                <a:cubicBezTo>
                  <a:pt x="6892773" y="535647"/>
                  <a:pt x="6878314" y="537918"/>
                  <a:pt x="6886342" y="636808"/>
                </a:cubicBezTo>
                <a:cubicBezTo>
                  <a:pt x="6892506" y="756883"/>
                  <a:pt x="6864504" y="771443"/>
                  <a:pt x="6851784" y="839073"/>
                </a:cubicBezTo>
                <a:cubicBezTo>
                  <a:pt x="6838675" y="892655"/>
                  <a:pt x="6864124" y="961738"/>
                  <a:pt x="6845760" y="994930"/>
                </a:cubicBezTo>
                <a:cubicBezTo>
                  <a:pt x="6833572" y="1024166"/>
                  <a:pt x="6859282" y="1058905"/>
                  <a:pt x="6845601" y="1112932"/>
                </a:cubicBezTo>
                <a:cubicBezTo>
                  <a:pt x="6838700" y="1149910"/>
                  <a:pt x="6829138" y="1151035"/>
                  <a:pt x="6820235" y="1187433"/>
                </a:cubicBezTo>
                <a:cubicBezTo>
                  <a:pt x="6815504" y="1196464"/>
                  <a:pt x="6777707" y="1338549"/>
                  <a:pt x="6759643" y="1337010"/>
                </a:cubicBezTo>
                <a:cubicBezTo>
                  <a:pt x="6737660" y="1337296"/>
                  <a:pt x="6760650" y="1396341"/>
                  <a:pt x="6736375" y="1382272"/>
                </a:cubicBezTo>
                <a:cubicBezTo>
                  <a:pt x="6755741" y="1415836"/>
                  <a:pt x="6714675" y="1414567"/>
                  <a:pt x="6701292" y="1432111"/>
                </a:cubicBezTo>
                <a:cubicBezTo>
                  <a:pt x="6721110" y="1460185"/>
                  <a:pt x="6692106" y="1490815"/>
                  <a:pt x="6686578" y="1518624"/>
                </a:cubicBezTo>
                <a:cubicBezTo>
                  <a:pt x="6682512" y="1567002"/>
                  <a:pt x="6679579" y="1571443"/>
                  <a:pt x="6670824" y="1607743"/>
                </a:cubicBezTo>
                <a:cubicBezTo>
                  <a:pt x="6671133" y="1629590"/>
                  <a:pt x="6663161" y="1656870"/>
                  <a:pt x="6664392" y="1696405"/>
                </a:cubicBezTo>
                <a:cubicBezTo>
                  <a:pt x="6655686" y="1770486"/>
                  <a:pt x="6641938" y="1757082"/>
                  <a:pt x="6642880" y="1812372"/>
                </a:cubicBezTo>
                <a:cubicBezTo>
                  <a:pt x="6638579" y="1872475"/>
                  <a:pt x="6619231" y="1825476"/>
                  <a:pt x="6612547" y="1876437"/>
                </a:cubicBezTo>
                <a:cubicBezTo>
                  <a:pt x="6600695" y="1913834"/>
                  <a:pt x="6591061" y="1923231"/>
                  <a:pt x="6571760" y="1953331"/>
                </a:cubicBezTo>
                <a:cubicBezTo>
                  <a:pt x="6561039" y="1989021"/>
                  <a:pt x="6544090" y="2087896"/>
                  <a:pt x="6520213" y="2096455"/>
                </a:cubicBezTo>
                <a:lnTo>
                  <a:pt x="6492461" y="2188148"/>
                </a:lnTo>
                <a:cubicBezTo>
                  <a:pt x="6504372" y="2211333"/>
                  <a:pt x="6489131" y="2253220"/>
                  <a:pt x="6471854" y="2259117"/>
                </a:cubicBezTo>
                <a:cubicBezTo>
                  <a:pt x="6466151" y="2287829"/>
                  <a:pt x="6440452" y="2301346"/>
                  <a:pt x="6439832" y="2328334"/>
                </a:cubicBezTo>
                <a:cubicBezTo>
                  <a:pt x="6431013" y="2351201"/>
                  <a:pt x="6444250" y="2396409"/>
                  <a:pt x="6425162" y="2408211"/>
                </a:cubicBezTo>
                <a:lnTo>
                  <a:pt x="6417221" y="2427382"/>
                </a:lnTo>
                <a:lnTo>
                  <a:pt x="6425030" y="2464387"/>
                </a:lnTo>
                <a:lnTo>
                  <a:pt x="6406293" y="2472223"/>
                </a:lnTo>
                <a:cubicBezTo>
                  <a:pt x="6406862" y="2477277"/>
                  <a:pt x="6406486" y="2491723"/>
                  <a:pt x="6405400" y="2493547"/>
                </a:cubicBezTo>
                <a:lnTo>
                  <a:pt x="6374829" y="2532070"/>
                </a:lnTo>
                <a:cubicBezTo>
                  <a:pt x="6374597" y="2545374"/>
                  <a:pt x="6360976" y="2563797"/>
                  <a:pt x="6350864" y="2577422"/>
                </a:cubicBezTo>
                <a:cubicBezTo>
                  <a:pt x="6327056" y="2632768"/>
                  <a:pt x="6341262" y="2616275"/>
                  <a:pt x="6329174" y="2663854"/>
                </a:cubicBezTo>
                <a:cubicBezTo>
                  <a:pt x="6326303" y="2703642"/>
                  <a:pt x="6332854" y="2709643"/>
                  <a:pt x="6315095" y="2741507"/>
                </a:cubicBezTo>
                <a:cubicBezTo>
                  <a:pt x="6319921" y="2740191"/>
                  <a:pt x="6321925" y="2742004"/>
                  <a:pt x="6322463" y="2745641"/>
                </a:cubicBezTo>
                <a:cubicBezTo>
                  <a:pt x="6322245" y="2747982"/>
                  <a:pt x="6322027" y="2750323"/>
                  <a:pt x="6321808" y="2752663"/>
                </a:cubicBezTo>
                <a:lnTo>
                  <a:pt x="6314569" y="2756718"/>
                </a:lnTo>
                <a:cubicBezTo>
                  <a:pt x="6289324" y="2773686"/>
                  <a:pt x="6317551" y="2780051"/>
                  <a:pt x="6315211" y="2811618"/>
                </a:cubicBezTo>
                <a:cubicBezTo>
                  <a:pt x="6315620" y="2826627"/>
                  <a:pt x="6296047" y="2885298"/>
                  <a:pt x="6302211" y="2882314"/>
                </a:cubicBezTo>
                <a:lnTo>
                  <a:pt x="6286167" y="2949597"/>
                </a:lnTo>
                <a:cubicBezTo>
                  <a:pt x="6286401" y="2994618"/>
                  <a:pt x="6286615" y="2971464"/>
                  <a:pt x="6287037" y="3008578"/>
                </a:cubicBezTo>
                <a:cubicBezTo>
                  <a:pt x="6293795" y="3029535"/>
                  <a:pt x="6274405" y="3114154"/>
                  <a:pt x="6259150" y="3123139"/>
                </a:cubicBezTo>
                <a:cubicBezTo>
                  <a:pt x="6250085" y="3189063"/>
                  <a:pt x="6269067" y="3151280"/>
                  <a:pt x="6272249" y="3227854"/>
                </a:cubicBezTo>
                <a:cubicBezTo>
                  <a:pt x="6278775" y="3295842"/>
                  <a:pt x="6289216" y="3303765"/>
                  <a:pt x="6292288" y="3378383"/>
                </a:cubicBezTo>
                <a:cubicBezTo>
                  <a:pt x="6303894" y="3395995"/>
                  <a:pt x="6287498" y="3432581"/>
                  <a:pt x="6288328" y="3459618"/>
                </a:cubicBezTo>
                <a:cubicBezTo>
                  <a:pt x="6289158" y="3486653"/>
                  <a:pt x="6299937" y="3538735"/>
                  <a:pt x="6297272" y="3540603"/>
                </a:cubicBezTo>
                <a:cubicBezTo>
                  <a:pt x="6296849" y="3577379"/>
                  <a:pt x="6294184" y="3587943"/>
                  <a:pt x="6291001" y="3638374"/>
                </a:cubicBezTo>
                <a:cubicBezTo>
                  <a:pt x="6283026" y="3666794"/>
                  <a:pt x="6265833" y="3731744"/>
                  <a:pt x="6283592" y="3763609"/>
                </a:cubicBezTo>
                <a:cubicBezTo>
                  <a:pt x="6264286" y="3758340"/>
                  <a:pt x="6290177" y="3803150"/>
                  <a:pt x="6274068" y="3814506"/>
                </a:cubicBezTo>
                <a:cubicBezTo>
                  <a:pt x="6260645" y="3821643"/>
                  <a:pt x="6265372" y="3836902"/>
                  <a:pt x="6262850" y="3850454"/>
                </a:cubicBezTo>
                <a:cubicBezTo>
                  <a:pt x="6250418" y="3863479"/>
                  <a:pt x="6250660" y="3955243"/>
                  <a:pt x="6257357" y="3975474"/>
                </a:cubicBezTo>
                <a:cubicBezTo>
                  <a:pt x="6245091" y="4036737"/>
                  <a:pt x="6237535" y="4029237"/>
                  <a:pt x="6257889" y="4073155"/>
                </a:cubicBezTo>
                <a:cubicBezTo>
                  <a:pt x="6259272" y="4085906"/>
                  <a:pt x="6239882" y="4116397"/>
                  <a:pt x="6237441" y="4126638"/>
                </a:cubicBezTo>
                <a:lnTo>
                  <a:pt x="6245587" y="4172738"/>
                </a:lnTo>
                <a:lnTo>
                  <a:pt x="6235772" y="4176721"/>
                </a:lnTo>
                <a:lnTo>
                  <a:pt x="6233287" y="4195136"/>
                </a:lnTo>
                <a:lnTo>
                  <a:pt x="6234619" y="4280850"/>
                </a:lnTo>
                <a:cubicBezTo>
                  <a:pt x="6239453" y="4320763"/>
                  <a:pt x="6223309" y="4337596"/>
                  <a:pt x="6219318" y="4402526"/>
                </a:cubicBezTo>
                <a:cubicBezTo>
                  <a:pt x="6205466" y="4516209"/>
                  <a:pt x="6216183" y="4588729"/>
                  <a:pt x="6216810" y="4651172"/>
                </a:cubicBezTo>
                <a:cubicBezTo>
                  <a:pt x="6217673" y="4756959"/>
                  <a:pt x="6228654" y="4824005"/>
                  <a:pt x="6225945" y="4916779"/>
                </a:cubicBezTo>
                <a:cubicBezTo>
                  <a:pt x="6217032" y="4993010"/>
                  <a:pt x="6264271" y="4984591"/>
                  <a:pt x="6230174" y="5051379"/>
                </a:cubicBezTo>
                <a:cubicBezTo>
                  <a:pt x="6235713" y="5056951"/>
                  <a:pt x="6239420" y="5163714"/>
                  <a:pt x="6242600" y="5170879"/>
                </a:cubicBezTo>
                <a:lnTo>
                  <a:pt x="6235996" y="5216428"/>
                </a:lnTo>
                <a:lnTo>
                  <a:pt x="6214638" y="5285298"/>
                </a:lnTo>
                <a:cubicBezTo>
                  <a:pt x="6211392" y="5297492"/>
                  <a:pt x="6225576" y="5312063"/>
                  <a:pt x="6228432" y="5317696"/>
                </a:cubicBezTo>
                <a:lnTo>
                  <a:pt x="6246496" y="5398787"/>
                </a:lnTo>
                <a:lnTo>
                  <a:pt x="6244793" y="5399530"/>
                </a:lnTo>
                <a:lnTo>
                  <a:pt x="6241695" y="5406948"/>
                </a:lnTo>
                <a:lnTo>
                  <a:pt x="6267461" y="5499413"/>
                </a:lnTo>
                <a:cubicBezTo>
                  <a:pt x="6285387" y="5533848"/>
                  <a:pt x="6284888" y="5550029"/>
                  <a:pt x="6295987" y="5582659"/>
                </a:cubicBezTo>
                <a:cubicBezTo>
                  <a:pt x="6311253" y="5681724"/>
                  <a:pt x="6295439" y="5695558"/>
                  <a:pt x="6364803" y="5784263"/>
                </a:cubicBezTo>
                <a:cubicBezTo>
                  <a:pt x="6379348" y="5818651"/>
                  <a:pt x="6412475" y="5906802"/>
                  <a:pt x="6423050" y="5922637"/>
                </a:cubicBezTo>
                <a:cubicBezTo>
                  <a:pt x="6445210" y="5973612"/>
                  <a:pt x="6468179" y="6023873"/>
                  <a:pt x="6497767" y="6090108"/>
                </a:cubicBezTo>
                <a:cubicBezTo>
                  <a:pt x="6571895" y="6150548"/>
                  <a:pt x="6572491" y="6236583"/>
                  <a:pt x="6606710" y="6281543"/>
                </a:cubicBezTo>
                <a:cubicBezTo>
                  <a:pt x="6633675" y="6335892"/>
                  <a:pt x="6654357" y="6388782"/>
                  <a:pt x="6667540" y="6443715"/>
                </a:cubicBezTo>
                <a:cubicBezTo>
                  <a:pt x="6685192" y="6466826"/>
                  <a:pt x="6650500" y="6508701"/>
                  <a:pt x="6659722" y="6550105"/>
                </a:cubicBezTo>
                <a:cubicBezTo>
                  <a:pt x="6665926" y="6645044"/>
                  <a:pt x="6669126" y="6627536"/>
                  <a:pt x="6671805" y="6687397"/>
                </a:cubicBezTo>
                <a:cubicBezTo>
                  <a:pt x="6682671" y="6733683"/>
                  <a:pt x="6665210" y="6772117"/>
                  <a:pt x="6669658" y="6806602"/>
                </a:cubicBezTo>
                <a:cubicBezTo>
                  <a:pt x="6661174" y="6812658"/>
                  <a:pt x="6667097" y="6831470"/>
                  <a:pt x="6675783" y="6850325"/>
                </a:cubicBezTo>
                <a:lnTo>
                  <a:pt x="6679704" y="6858000"/>
                </a:lnTo>
                <a:lnTo>
                  <a:pt x="4532241" y="6858000"/>
                </a:lnTo>
                <a:lnTo>
                  <a:pt x="120859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320465" y="2194102"/>
            <a:ext cx="4140013" cy="39085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Les </a:t>
            </a:r>
            <a:r>
              <a:rPr lang="en-US" sz="4000" dirty="0" err="1"/>
              <a:t>écritures</a:t>
            </a: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pratiques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as RRR1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36993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240" y="1050595"/>
            <a:ext cx="8074815" cy="161848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7200" kern="1200" dirty="0" err="1">
                <a:latin typeface="+mj-lt"/>
                <a:ea typeface="+mj-ea"/>
                <a:cs typeface="+mj-cs"/>
              </a:rPr>
              <a:t>Exemple</a:t>
            </a:r>
            <a:r>
              <a:rPr lang="en-US" sz="7200" kern="1200" dirty="0">
                <a:latin typeface="+mj-lt"/>
                <a:ea typeface="+mj-ea"/>
                <a:cs typeface="+mj-cs"/>
              </a:rPr>
              <a:t> A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5240" y="2969469"/>
            <a:ext cx="9249410" cy="280039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sz="24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tal de la valeur d’acquisition (V.O) : 275 000,00 € H.T.</a:t>
            </a:r>
          </a:p>
        </p:txBody>
      </p:sp>
    </p:spTree>
    <p:extLst>
      <p:ext uri="{BB962C8B-B14F-4D97-AF65-F5344CB8AC3E}">
        <p14:creationId xmlns:p14="http://schemas.microsoft.com/office/powerpoint/2010/main" val="14799012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990" y="473547"/>
            <a:ext cx="8074815" cy="161848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7200" kern="1200" dirty="0" err="1">
                <a:latin typeface="+mj-lt"/>
                <a:ea typeface="+mj-ea"/>
                <a:cs typeface="+mj-cs"/>
              </a:rPr>
              <a:t>Exemple</a:t>
            </a:r>
            <a:endParaRPr lang="en-US" sz="7200" kern="1200" dirty="0"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ED4966F-E2DC-47D2-8406-77E6764A6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956698"/>
              </p:ext>
            </p:extLst>
          </p:nvPr>
        </p:nvGraphicFramePr>
        <p:xfrm>
          <a:off x="798990" y="2241764"/>
          <a:ext cx="10635449" cy="3864252"/>
        </p:xfrm>
        <a:graphic>
          <a:graphicData uri="http://schemas.openxmlformats.org/drawingml/2006/table">
            <a:tbl>
              <a:tblPr/>
              <a:tblGrid>
                <a:gridCol w="869725">
                  <a:extLst>
                    <a:ext uri="{9D8B030D-6E8A-4147-A177-3AD203B41FA5}">
                      <a16:colId xmlns:a16="http://schemas.microsoft.com/office/drawing/2014/main" val="3533520684"/>
                    </a:ext>
                  </a:extLst>
                </a:gridCol>
                <a:gridCol w="6138467">
                  <a:extLst>
                    <a:ext uri="{9D8B030D-6E8A-4147-A177-3AD203B41FA5}">
                      <a16:colId xmlns:a16="http://schemas.microsoft.com/office/drawing/2014/main" val="3683709775"/>
                    </a:ext>
                  </a:extLst>
                </a:gridCol>
                <a:gridCol w="1535454">
                  <a:extLst>
                    <a:ext uri="{9D8B030D-6E8A-4147-A177-3AD203B41FA5}">
                      <a16:colId xmlns:a16="http://schemas.microsoft.com/office/drawing/2014/main" val="2303002425"/>
                    </a:ext>
                  </a:extLst>
                </a:gridCol>
                <a:gridCol w="2091803">
                  <a:extLst>
                    <a:ext uri="{9D8B030D-6E8A-4147-A177-3AD203B41FA5}">
                      <a16:colId xmlns:a16="http://schemas.microsoft.com/office/drawing/2014/main" val="3746661263"/>
                    </a:ext>
                  </a:extLst>
                </a:gridCol>
              </a:tblGrid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T.M.O.I (200 000,00 + 25 000,00 + 50 000,00)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7800175"/>
                  </a:ext>
                </a:extLst>
              </a:tr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déductible sur immobilisation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984994"/>
                  </a:ext>
                </a:extLst>
              </a:tr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Fournisseurs d'immobilisation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0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0208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3735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240" y="1050595"/>
            <a:ext cx="8074815" cy="161848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7200" kern="1200" dirty="0" err="1">
                <a:latin typeface="+mj-lt"/>
                <a:ea typeface="+mj-ea"/>
                <a:cs typeface="+mj-cs"/>
              </a:rPr>
              <a:t>Exemple</a:t>
            </a:r>
            <a:r>
              <a:rPr lang="en-US" sz="7200" kern="1200" dirty="0">
                <a:latin typeface="+mj-lt"/>
                <a:ea typeface="+mj-ea"/>
                <a:cs typeface="+mj-cs"/>
              </a:rPr>
              <a:t> B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6AB3AA-03B3-4E7A-94A3-3EB3E0E9D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8788" y="2441359"/>
            <a:ext cx="10227076" cy="332850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x achat H.T de base d’un véhicule de tourisme neuf chez un concessionnaire : 14 000,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rais H.T de préparation du véhicule : 1 000,00 €.</a:t>
            </a: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rte grise : 200,00 €.</a:t>
            </a:r>
          </a:p>
          <a:p>
            <a:pPr algn="just"/>
            <a:endParaRPr lang="fr-FR" dirty="0"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tention : un véhicule de tourisme ne permet pas de déduire la TVA – la base d’imposition est le TTC</a:t>
            </a:r>
          </a:p>
          <a:p>
            <a:endParaRPr lang="fr-FR" sz="24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6316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081EA652-8C6A-4E69-BEB9-170809474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298780A-33B9-4EA2-8F67-DE68AD628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488E8B-4E1E-4402-8935-D4E6C02615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990" y="473547"/>
            <a:ext cx="8074815" cy="161848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7200" kern="1200" dirty="0" err="1">
                <a:latin typeface="+mj-lt"/>
                <a:ea typeface="+mj-ea"/>
                <a:cs typeface="+mj-cs"/>
              </a:rPr>
              <a:t>Exemple</a:t>
            </a:r>
            <a:r>
              <a:rPr lang="en-US" sz="7200" kern="1200" dirty="0">
                <a:latin typeface="+mj-lt"/>
                <a:ea typeface="+mj-ea"/>
                <a:cs typeface="+mj-cs"/>
              </a:rPr>
              <a:t> B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DED4966F-E2DC-47D2-8406-77E6764A6D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9036406"/>
              </p:ext>
            </p:extLst>
          </p:nvPr>
        </p:nvGraphicFramePr>
        <p:xfrm>
          <a:off x="798990" y="2241764"/>
          <a:ext cx="10665837" cy="3864252"/>
        </p:xfrm>
        <a:graphic>
          <a:graphicData uri="http://schemas.openxmlformats.org/drawingml/2006/table">
            <a:tbl>
              <a:tblPr/>
              <a:tblGrid>
                <a:gridCol w="900113">
                  <a:extLst>
                    <a:ext uri="{9D8B030D-6E8A-4147-A177-3AD203B41FA5}">
                      <a16:colId xmlns:a16="http://schemas.microsoft.com/office/drawing/2014/main" val="3533520684"/>
                    </a:ext>
                  </a:extLst>
                </a:gridCol>
                <a:gridCol w="6138467">
                  <a:extLst>
                    <a:ext uri="{9D8B030D-6E8A-4147-A177-3AD203B41FA5}">
                      <a16:colId xmlns:a16="http://schemas.microsoft.com/office/drawing/2014/main" val="3683709775"/>
                    </a:ext>
                  </a:extLst>
                </a:gridCol>
                <a:gridCol w="1535454">
                  <a:extLst>
                    <a:ext uri="{9D8B030D-6E8A-4147-A177-3AD203B41FA5}">
                      <a16:colId xmlns:a16="http://schemas.microsoft.com/office/drawing/2014/main" val="2303002425"/>
                    </a:ext>
                  </a:extLst>
                </a:gridCol>
                <a:gridCol w="2091803">
                  <a:extLst>
                    <a:ext uri="{9D8B030D-6E8A-4147-A177-3AD203B41FA5}">
                      <a16:colId xmlns:a16="http://schemas.microsoft.com/office/drawing/2014/main" val="3746661263"/>
                    </a:ext>
                  </a:extLst>
                </a:gridCol>
              </a:tblGrid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800" dirty="0" err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eriel</a:t>
                      </a:r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transport (14 000,00 + 1 000) * 1,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0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7800175"/>
                  </a:ext>
                </a:extLst>
              </a:tr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5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te grise (sur option donc au choix 6354/2182)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984994"/>
                  </a:ext>
                </a:extLst>
              </a:tr>
              <a:tr h="1288084">
                <a:tc>
                  <a:txBody>
                    <a:bodyPr/>
                    <a:lstStyle/>
                    <a:p>
                      <a:pPr algn="l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Fournisseurs d'immobilisation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8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200,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0208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93966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3E443FD7-A66B-4AA0-872D-B088B9BC5F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B4BD8A2-5C77-4F6B-ACB6-AB917A0C0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095" y="851517"/>
            <a:ext cx="5238466" cy="2991416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urée de vie du bien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7BC496-97F0-4F08-B182-396A614F80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4096" y="3842932"/>
            <a:ext cx="4167115" cy="216355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4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’est</a:t>
            </a:r>
            <a:r>
              <a:rPr lang="en-US" sz="4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e plan </a:t>
            </a:r>
            <a:r>
              <a:rPr lang="en-US" sz="4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’amortissement</a:t>
            </a:r>
            <a:endParaRPr lang="en-US" sz="44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04BE0EF-3561-49B4-9A29-F283168A9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10370" y="851518"/>
            <a:ext cx="6184806" cy="5154967"/>
          </a:xfrm>
          <a:custGeom>
            <a:avLst/>
            <a:gdLst>
              <a:gd name="connsiteX0" fmla="*/ 363179 w 6184806"/>
              <a:gd name="connsiteY0" fmla="*/ 3125191 h 5154967"/>
              <a:gd name="connsiteX1" fmla="*/ 898270 w 6184806"/>
              <a:gd name="connsiteY1" fmla="*/ 3125191 h 5154967"/>
              <a:gd name="connsiteX2" fmla="*/ 980326 w 6184806"/>
              <a:gd name="connsiteY2" fmla="*/ 3173551 h 5154967"/>
              <a:gd name="connsiteX3" fmla="*/ 1248448 w 6184806"/>
              <a:gd name="connsiteY3" fmla="*/ 3635277 h 5154967"/>
              <a:gd name="connsiteX4" fmla="*/ 1248448 w 6184806"/>
              <a:gd name="connsiteY4" fmla="*/ 3729695 h 5154967"/>
              <a:gd name="connsiteX5" fmla="*/ 980326 w 6184806"/>
              <a:gd name="connsiteY5" fmla="*/ 4191421 h 5154967"/>
              <a:gd name="connsiteX6" fmla="*/ 898270 w 6184806"/>
              <a:gd name="connsiteY6" fmla="*/ 4239781 h 5154967"/>
              <a:gd name="connsiteX7" fmla="*/ 363179 w 6184806"/>
              <a:gd name="connsiteY7" fmla="*/ 4239781 h 5154967"/>
              <a:gd name="connsiteX8" fmla="*/ 279969 w 6184806"/>
              <a:gd name="connsiteY8" fmla="*/ 4191421 h 5154967"/>
              <a:gd name="connsiteX9" fmla="*/ 13002 w 6184806"/>
              <a:gd name="connsiteY9" fmla="*/ 3729695 h 5154967"/>
              <a:gd name="connsiteX10" fmla="*/ 13002 w 6184806"/>
              <a:gd name="connsiteY10" fmla="*/ 3635277 h 5154967"/>
              <a:gd name="connsiteX11" fmla="*/ 279969 w 6184806"/>
              <a:gd name="connsiteY11" fmla="*/ 3173551 h 5154967"/>
              <a:gd name="connsiteX12" fmla="*/ 363179 w 6184806"/>
              <a:gd name="connsiteY12" fmla="*/ 3125191 h 5154967"/>
              <a:gd name="connsiteX13" fmla="*/ 2489721 w 6184806"/>
              <a:gd name="connsiteY13" fmla="*/ 570035 h 5154967"/>
              <a:gd name="connsiteX14" fmla="*/ 2764862 w 6184806"/>
              <a:gd name="connsiteY14" fmla="*/ 570035 h 5154967"/>
              <a:gd name="connsiteX15" fmla="*/ 2796959 w 6184806"/>
              <a:gd name="connsiteY15" fmla="*/ 570035 h 5154967"/>
              <a:gd name="connsiteX16" fmla="*/ 2827587 w 6184806"/>
              <a:gd name="connsiteY16" fmla="*/ 622777 h 5154967"/>
              <a:gd name="connsiteX17" fmla="*/ 2977604 w 6184806"/>
              <a:gd name="connsiteY17" fmla="*/ 881117 h 5154967"/>
              <a:gd name="connsiteX18" fmla="*/ 2977604 w 6184806"/>
              <a:gd name="connsiteY18" fmla="*/ 1025720 h 5154967"/>
              <a:gd name="connsiteX19" fmla="*/ 2566968 w 6184806"/>
              <a:gd name="connsiteY19" fmla="*/ 1732863 h 5154967"/>
              <a:gd name="connsiteX20" fmla="*/ 2441299 w 6184806"/>
              <a:gd name="connsiteY20" fmla="*/ 1806927 h 5154967"/>
              <a:gd name="connsiteX21" fmla="*/ 1621798 w 6184806"/>
              <a:gd name="connsiteY21" fmla="*/ 1806927 h 5154967"/>
              <a:gd name="connsiteX22" fmla="*/ 1583218 w 6184806"/>
              <a:gd name="connsiteY22" fmla="*/ 1801802 h 5154967"/>
              <a:gd name="connsiteX23" fmla="*/ 1556683 w 6184806"/>
              <a:gd name="connsiteY23" fmla="*/ 1790677 h 5154967"/>
              <a:gd name="connsiteX24" fmla="*/ 1572899 w 6184806"/>
              <a:gd name="connsiteY24" fmla="*/ 1762630 h 5154967"/>
              <a:gd name="connsiteX25" fmla="*/ 2147429 w 6184806"/>
              <a:gd name="connsiteY25" fmla="*/ 768968 h 5154967"/>
              <a:gd name="connsiteX26" fmla="*/ 2489721 w 6184806"/>
              <a:gd name="connsiteY26" fmla="*/ 570035 h 5154967"/>
              <a:gd name="connsiteX27" fmla="*/ 1573268 w 6184806"/>
              <a:gd name="connsiteY27" fmla="*/ 0 h 5154967"/>
              <a:gd name="connsiteX28" fmla="*/ 2497662 w 6184806"/>
              <a:gd name="connsiteY28" fmla="*/ 0 h 5154967"/>
              <a:gd name="connsiteX29" fmla="*/ 2639415 w 6184806"/>
              <a:gd name="connsiteY29" fmla="*/ 83546 h 5154967"/>
              <a:gd name="connsiteX30" fmla="*/ 2887862 w 6184806"/>
              <a:gd name="connsiteY30" fmla="*/ 511387 h 5154967"/>
              <a:gd name="connsiteX31" fmla="*/ 2915928 w 6184806"/>
              <a:gd name="connsiteY31" fmla="*/ 559720 h 5154967"/>
              <a:gd name="connsiteX32" fmla="*/ 2893844 w 6184806"/>
              <a:gd name="connsiteY32" fmla="*/ 559720 h 5154967"/>
              <a:gd name="connsiteX33" fmla="*/ 2789466 w 6184806"/>
              <a:gd name="connsiteY33" fmla="*/ 559720 h 5154967"/>
              <a:gd name="connsiteX34" fmla="*/ 2744122 w 6184806"/>
              <a:gd name="connsiteY34" fmla="*/ 481634 h 5154967"/>
              <a:gd name="connsiteX35" fmla="*/ 2570885 w 6184806"/>
              <a:gd name="connsiteY35" fmla="*/ 183309 h 5154967"/>
              <a:gd name="connsiteX36" fmla="*/ 2445216 w 6184806"/>
              <a:gd name="connsiteY36" fmla="*/ 109243 h 5154967"/>
              <a:gd name="connsiteX37" fmla="*/ 1625714 w 6184806"/>
              <a:gd name="connsiteY37" fmla="*/ 109243 h 5154967"/>
              <a:gd name="connsiteX38" fmla="*/ 1498276 w 6184806"/>
              <a:gd name="connsiteY38" fmla="*/ 183309 h 5154967"/>
              <a:gd name="connsiteX39" fmla="*/ 1089410 w 6184806"/>
              <a:gd name="connsiteY39" fmla="*/ 890450 h 5154967"/>
              <a:gd name="connsiteX40" fmla="*/ 1089410 w 6184806"/>
              <a:gd name="connsiteY40" fmla="*/ 1035054 h 5154967"/>
              <a:gd name="connsiteX41" fmla="*/ 1498276 w 6184806"/>
              <a:gd name="connsiteY41" fmla="*/ 1742196 h 5154967"/>
              <a:gd name="connsiteX42" fmla="*/ 1552039 w 6184806"/>
              <a:gd name="connsiteY42" fmla="*/ 1796422 h 5154967"/>
              <a:gd name="connsiteX43" fmla="*/ 1558260 w 6184806"/>
              <a:gd name="connsiteY43" fmla="*/ 1799029 h 5154967"/>
              <a:gd name="connsiteX44" fmla="*/ 1524911 w 6184806"/>
              <a:gd name="connsiteY44" fmla="*/ 1856707 h 5154967"/>
              <a:gd name="connsiteX45" fmla="*/ 1500108 w 6184806"/>
              <a:gd name="connsiteY45" fmla="*/ 1899604 h 5154967"/>
              <a:gd name="connsiteX46" fmla="*/ 1525834 w 6184806"/>
              <a:gd name="connsiteY46" fmla="*/ 1910390 h 5154967"/>
              <a:gd name="connsiteX47" fmla="*/ 1569352 w 6184806"/>
              <a:gd name="connsiteY47" fmla="*/ 1916170 h 5154967"/>
              <a:gd name="connsiteX48" fmla="*/ 2493745 w 6184806"/>
              <a:gd name="connsiteY48" fmla="*/ 1916170 h 5154967"/>
              <a:gd name="connsiteX49" fmla="*/ 2635498 w 6184806"/>
              <a:gd name="connsiteY49" fmla="*/ 1832627 h 5154967"/>
              <a:gd name="connsiteX50" fmla="*/ 3098693 w 6184806"/>
              <a:gd name="connsiteY50" fmla="*/ 1034974 h 5154967"/>
              <a:gd name="connsiteX51" fmla="*/ 3098693 w 6184806"/>
              <a:gd name="connsiteY51" fmla="*/ 871863 h 5154967"/>
              <a:gd name="connsiteX52" fmla="*/ 2945803 w 6184806"/>
              <a:gd name="connsiteY52" fmla="*/ 608576 h 5154967"/>
              <a:gd name="connsiteX53" fmla="*/ 2923422 w 6184806"/>
              <a:gd name="connsiteY53" fmla="*/ 570035 h 5154967"/>
              <a:gd name="connsiteX54" fmla="*/ 3027104 w 6184806"/>
              <a:gd name="connsiteY54" fmla="*/ 570035 h 5154967"/>
              <a:gd name="connsiteX55" fmla="*/ 4690846 w 6184806"/>
              <a:gd name="connsiteY55" fmla="*/ 570035 h 5154967"/>
              <a:gd name="connsiteX56" fmla="*/ 5028384 w 6184806"/>
              <a:gd name="connsiteY56" fmla="*/ 768968 h 5154967"/>
              <a:gd name="connsiteX57" fmla="*/ 6131323 w 6184806"/>
              <a:gd name="connsiteY57" fmla="*/ 2668304 h 5154967"/>
              <a:gd name="connsiteX58" fmla="*/ 6131323 w 6184806"/>
              <a:gd name="connsiteY58" fmla="*/ 3056698 h 5154967"/>
              <a:gd name="connsiteX59" fmla="*/ 5028384 w 6184806"/>
              <a:gd name="connsiteY59" fmla="*/ 4956035 h 5154967"/>
              <a:gd name="connsiteX60" fmla="*/ 4690846 w 6184806"/>
              <a:gd name="connsiteY60" fmla="*/ 5154967 h 5154967"/>
              <a:gd name="connsiteX61" fmla="*/ 2489721 w 6184806"/>
              <a:gd name="connsiteY61" fmla="*/ 5154967 h 5154967"/>
              <a:gd name="connsiteX62" fmla="*/ 2147429 w 6184806"/>
              <a:gd name="connsiteY62" fmla="*/ 4956035 h 5154967"/>
              <a:gd name="connsiteX63" fmla="*/ 1049243 w 6184806"/>
              <a:gd name="connsiteY63" fmla="*/ 3056698 h 5154967"/>
              <a:gd name="connsiteX64" fmla="*/ 1049243 w 6184806"/>
              <a:gd name="connsiteY64" fmla="*/ 2668304 h 5154967"/>
              <a:gd name="connsiteX65" fmla="*/ 1457007 w 6184806"/>
              <a:gd name="connsiteY65" fmla="*/ 1963067 h 5154967"/>
              <a:gd name="connsiteX66" fmla="*/ 1491373 w 6184806"/>
              <a:gd name="connsiteY66" fmla="*/ 1903634 h 5154967"/>
              <a:gd name="connsiteX67" fmla="*/ 1490164 w 6184806"/>
              <a:gd name="connsiteY67" fmla="*/ 1903127 h 5154967"/>
              <a:gd name="connsiteX68" fmla="*/ 1429519 w 6184806"/>
              <a:gd name="connsiteY68" fmla="*/ 1841960 h 5154967"/>
              <a:gd name="connsiteX69" fmla="*/ 968320 w 6184806"/>
              <a:gd name="connsiteY69" fmla="*/ 1044307 h 5154967"/>
              <a:gd name="connsiteX70" fmla="*/ 968320 w 6184806"/>
              <a:gd name="connsiteY70" fmla="*/ 881196 h 5154967"/>
              <a:gd name="connsiteX71" fmla="*/ 1429519 w 6184806"/>
              <a:gd name="connsiteY71" fmla="*/ 83546 h 5154967"/>
              <a:gd name="connsiteX72" fmla="*/ 1573268 w 6184806"/>
              <a:gd name="connsiteY72" fmla="*/ 0 h 515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184806" h="5154967">
                <a:moveTo>
                  <a:pt x="363179" y="3125191"/>
                </a:moveTo>
                <a:cubicBezTo>
                  <a:pt x="363179" y="3125191"/>
                  <a:pt x="363179" y="3125191"/>
                  <a:pt x="898270" y="3125191"/>
                </a:cubicBezTo>
                <a:cubicBezTo>
                  <a:pt x="931786" y="3125191"/>
                  <a:pt x="964145" y="3143614"/>
                  <a:pt x="980326" y="3173551"/>
                </a:cubicBezTo>
                <a:cubicBezTo>
                  <a:pt x="980326" y="3173551"/>
                  <a:pt x="980326" y="3173551"/>
                  <a:pt x="1248448" y="3635277"/>
                </a:cubicBezTo>
                <a:cubicBezTo>
                  <a:pt x="1265784" y="3664063"/>
                  <a:pt x="1265784" y="3700909"/>
                  <a:pt x="1248448" y="3729695"/>
                </a:cubicBezTo>
                <a:cubicBezTo>
                  <a:pt x="1248448" y="3729695"/>
                  <a:pt x="1248448" y="3729695"/>
                  <a:pt x="980326" y="4191421"/>
                </a:cubicBezTo>
                <a:cubicBezTo>
                  <a:pt x="964145" y="4221358"/>
                  <a:pt x="931786" y="4239781"/>
                  <a:pt x="898270" y="4239781"/>
                </a:cubicBezTo>
                <a:cubicBezTo>
                  <a:pt x="898270" y="4239781"/>
                  <a:pt x="898270" y="4239781"/>
                  <a:pt x="363179" y="4239781"/>
                </a:cubicBezTo>
                <a:cubicBezTo>
                  <a:pt x="328508" y="4239781"/>
                  <a:pt x="297305" y="4221358"/>
                  <a:pt x="279969" y="4191421"/>
                </a:cubicBezTo>
                <a:cubicBezTo>
                  <a:pt x="279969" y="4191421"/>
                  <a:pt x="279969" y="4191421"/>
                  <a:pt x="13002" y="3729695"/>
                </a:cubicBezTo>
                <a:cubicBezTo>
                  <a:pt x="-4334" y="3700909"/>
                  <a:pt x="-4334" y="3664063"/>
                  <a:pt x="13002" y="3635277"/>
                </a:cubicBezTo>
                <a:cubicBezTo>
                  <a:pt x="13002" y="3635277"/>
                  <a:pt x="13002" y="3635277"/>
                  <a:pt x="279969" y="3173551"/>
                </a:cubicBezTo>
                <a:cubicBezTo>
                  <a:pt x="297305" y="3143614"/>
                  <a:pt x="328508" y="3125191"/>
                  <a:pt x="363179" y="3125191"/>
                </a:cubicBezTo>
                <a:close/>
                <a:moveTo>
                  <a:pt x="2489721" y="570035"/>
                </a:moveTo>
                <a:cubicBezTo>
                  <a:pt x="2489721" y="570035"/>
                  <a:pt x="2489721" y="570035"/>
                  <a:pt x="2764862" y="570035"/>
                </a:cubicBezTo>
                <a:lnTo>
                  <a:pt x="2796959" y="570035"/>
                </a:lnTo>
                <a:lnTo>
                  <a:pt x="2827587" y="622777"/>
                </a:lnTo>
                <a:cubicBezTo>
                  <a:pt x="2870233" y="696217"/>
                  <a:pt x="2919858" y="781675"/>
                  <a:pt x="2977604" y="881117"/>
                </a:cubicBezTo>
                <a:cubicBezTo>
                  <a:pt x="3004153" y="925204"/>
                  <a:pt x="3004153" y="981634"/>
                  <a:pt x="2977604" y="1025720"/>
                </a:cubicBezTo>
                <a:cubicBezTo>
                  <a:pt x="2977604" y="1025720"/>
                  <a:pt x="2977604" y="1025720"/>
                  <a:pt x="2566968" y="1732863"/>
                </a:cubicBezTo>
                <a:cubicBezTo>
                  <a:pt x="2542188" y="1778712"/>
                  <a:pt x="2492629" y="1806927"/>
                  <a:pt x="2441299" y="1806927"/>
                </a:cubicBezTo>
                <a:cubicBezTo>
                  <a:pt x="2441299" y="1806927"/>
                  <a:pt x="2441299" y="1806927"/>
                  <a:pt x="1621798" y="1806927"/>
                </a:cubicBezTo>
                <a:cubicBezTo>
                  <a:pt x="1608523" y="1806927"/>
                  <a:pt x="1595580" y="1805163"/>
                  <a:pt x="1583218" y="1801802"/>
                </a:cubicBezTo>
                <a:lnTo>
                  <a:pt x="1556683" y="1790677"/>
                </a:lnTo>
                <a:lnTo>
                  <a:pt x="1572899" y="1762630"/>
                </a:lnTo>
                <a:cubicBezTo>
                  <a:pt x="1719523" y="1509042"/>
                  <a:pt x="1907201" y="1184448"/>
                  <a:pt x="2147429" y="768968"/>
                </a:cubicBezTo>
                <a:cubicBezTo>
                  <a:pt x="2218739" y="645819"/>
                  <a:pt x="2347099" y="570035"/>
                  <a:pt x="2489721" y="570035"/>
                </a:cubicBezTo>
                <a:close/>
                <a:moveTo>
                  <a:pt x="1573268" y="0"/>
                </a:moveTo>
                <a:cubicBezTo>
                  <a:pt x="1573268" y="0"/>
                  <a:pt x="1573268" y="0"/>
                  <a:pt x="2497662" y="0"/>
                </a:cubicBezTo>
                <a:cubicBezTo>
                  <a:pt x="2555561" y="0"/>
                  <a:pt x="2611463" y="31828"/>
                  <a:pt x="2639415" y="83546"/>
                </a:cubicBezTo>
                <a:cubicBezTo>
                  <a:pt x="2639415" y="83546"/>
                  <a:pt x="2639415" y="83546"/>
                  <a:pt x="2887862" y="511387"/>
                </a:cubicBezTo>
                <a:lnTo>
                  <a:pt x="2915928" y="559720"/>
                </a:lnTo>
                <a:lnTo>
                  <a:pt x="2893844" y="559720"/>
                </a:lnTo>
                <a:lnTo>
                  <a:pt x="2789466" y="559720"/>
                </a:lnTo>
                <a:lnTo>
                  <a:pt x="2744122" y="481634"/>
                </a:lnTo>
                <a:cubicBezTo>
                  <a:pt x="2570885" y="183309"/>
                  <a:pt x="2570885" y="183309"/>
                  <a:pt x="2570885" y="183309"/>
                </a:cubicBezTo>
                <a:cubicBezTo>
                  <a:pt x="2546104" y="137459"/>
                  <a:pt x="2496545" y="109243"/>
                  <a:pt x="2445216" y="109243"/>
                </a:cubicBezTo>
                <a:cubicBezTo>
                  <a:pt x="1625714" y="109243"/>
                  <a:pt x="1625714" y="109243"/>
                  <a:pt x="1625714" y="109243"/>
                </a:cubicBezTo>
                <a:cubicBezTo>
                  <a:pt x="1572615" y="109243"/>
                  <a:pt x="1524825" y="137459"/>
                  <a:pt x="1498276" y="183309"/>
                </a:cubicBezTo>
                <a:cubicBezTo>
                  <a:pt x="1089410" y="890450"/>
                  <a:pt x="1089410" y="890450"/>
                  <a:pt x="1089410" y="890450"/>
                </a:cubicBezTo>
                <a:cubicBezTo>
                  <a:pt x="1062860" y="934537"/>
                  <a:pt x="1062860" y="990967"/>
                  <a:pt x="1089410" y="1035054"/>
                </a:cubicBezTo>
                <a:cubicBezTo>
                  <a:pt x="1498276" y="1742196"/>
                  <a:pt x="1498276" y="1742196"/>
                  <a:pt x="1498276" y="1742196"/>
                </a:cubicBezTo>
                <a:cubicBezTo>
                  <a:pt x="1511551" y="1765121"/>
                  <a:pt x="1530135" y="1783637"/>
                  <a:pt x="1552039" y="1796422"/>
                </a:cubicBezTo>
                <a:lnTo>
                  <a:pt x="1558260" y="1799029"/>
                </a:lnTo>
                <a:lnTo>
                  <a:pt x="1524911" y="1856707"/>
                </a:lnTo>
                <a:lnTo>
                  <a:pt x="1500108" y="1899604"/>
                </a:lnTo>
                <a:lnTo>
                  <a:pt x="1525834" y="1910390"/>
                </a:lnTo>
                <a:cubicBezTo>
                  <a:pt x="1539779" y="1914181"/>
                  <a:pt x="1554378" y="1916170"/>
                  <a:pt x="1569352" y="1916170"/>
                </a:cubicBezTo>
                <a:cubicBezTo>
                  <a:pt x="2493745" y="1916170"/>
                  <a:pt x="2493745" y="1916170"/>
                  <a:pt x="2493745" y="1916170"/>
                </a:cubicBezTo>
                <a:cubicBezTo>
                  <a:pt x="2551645" y="1916170"/>
                  <a:pt x="2607546" y="1884345"/>
                  <a:pt x="2635498" y="1832627"/>
                </a:cubicBezTo>
                <a:cubicBezTo>
                  <a:pt x="3098693" y="1034974"/>
                  <a:pt x="3098693" y="1034974"/>
                  <a:pt x="3098693" y="1034974"/>
                </a:cubicBezTo>
                <a:cubicBezTo>
                  <a:pt x="3128641" y="985246"/>
                  <a:pt x="3128641" y="921593"/>
                  <a:pt x="3098693" y="871863"/>
                </a:cubicBezTo>
                <a:cubicBezTo>
                  <a:pt x="3040794" y="772157"/>
                  <a:pt x="2990132" y="684914"/>
                  <a:pt x="2945803" y="608576"/>
                </a:cubicBezTo>
                <a:lnTo>
                  <a:pt x="2923422" y="570035"/>
                </a:lnTo>
                <a:lnTo>
                  <a:pt x="3027104" y="570035"/>
                </a:lnTo>
                <a:cubicBezTo>
                  <a:pt x="3349535" y="570035"/>
                  <a:pt x="3865424" y="570035"/>
                  <a:pt x="4690846" y="570035"/>
                </a:cubicBezTo>
                <a:cubicBezTo>
                  <a:pt x="4828714" y="570035"/>
                  <a:pt x="4961827" y="645819"/>
                  <a:pt x="5028384" y="768968"/>
                </a:cubicBezTo>
                <a:cubicBezTo>
                  <a:pt x="5028384" y="768968"/>
                  <a:pt x="5028384" y="768968"/>
                  <a:pt x="6131323" y="2668304"/>
                </a:cubicBezTo>
                <a:cubicBezTo>
                  <a:pt x="6202634" y="2786717"/>
                  <a:pt x="6202634" y="2938285"/>
                  <a:pt x="6131323" y="3056698"/>
                </a:cubicBezTo>
                <a:cubicBezTo>
                  <a:pt x="6131323" y="3056698"/>
                  <a:pt x="6131323" y="3056698"/>
                  <a:pt x="5028384" y="4956035"/>
                </a:cubicBezTo>
                <a:cubicBezTo>
                  <a:pt x="4961827" y="5079184"/>
                  <a:pt x="4828714" y="5154967"/>
                  <a:pt x="4690846" y="5154967"/>
                </a:cubicBezTo>
                <a:cubicBezTo>
                  <a:pt x="4690846" y="5154967"/>
                  <a:pt x="4690846" y="5154967"/>
                  <a:pt x="2489721" y="5154967"/>
                </a:cubicBezTo>
                <a:cubicBezTo>
                  <a:pt x="2347099" y="5154967"/>
                  <a:pt x="2218739" y="5079184"/>
                  <a:pt x="2147429" y="4956035"/>
                </a:cubicBezTo>
                <a:cubicBezTo>
                  <a:pt x="2147429" y="4956035"/>
                  <a:pt x="2147429" y="4956035"/>
                  <a:pt x="1049243" y="3056698"/>
                </a:cubicBezTo>
                <a:cubicBezTo>
                  <a:pt x="977932" y="2938285"/>
                  <a:pt x="977932" y="2786717"/>
                  <a:pt x="1049243" y="2668304"/>
                </a:cubicBezTo>
                <a:cubicBezTo>
                  <a:pt x="1049243" y="2668304"/>
                  <a:pt x="1049243" y="2668304"/>
                  <a:pt x="1457007" y="1963067"/>
                </a:cubicBezTo>
                <a:lnTo>
                  <a:pt x="1491373" y="1903634"/>
                </a:lnTo>
                <a:lnTo>
                  <a:pt x="1490164" y="1903127"/>
                </a:lnTo>
                <a:cubicBezTo>
                  <a:pt x="1465456" y="1888705"/>
                  <a:pt x="1444493" y="1867820"/>
                  <a:pt x="1429519" y="1841960"/>
                </a:cubicBezTo>
                <a:cubicBezTo>
                  <a:pt x="1429519" y="1841960"/>
                  <a:pt x="1429519" y="1841960"/>
                  <a:pt x="968320" y="1044307"/>
                </a:cubicBezTo>
                <a:cubicBezTo>
                  <a:pt x="938371" y="994579"/>
                  <a:pt x="938371" y="930926"/>
                  <a:pt x="968320" y="881196"/>
                </a:cubicBezTo>
                <a:cubicBezTo>
                  <a:pt x="968320" y="881196"/>
                  <a:pt x="968320" y="881196"/>
                  <a:pt x="1429519" y="83546"/>
                </a:cubicBezTo>
                <a:cubicBezTo>
                  <a:pt x="1459466" y="31828"/>
                  <a:pt x="1513373" y="0"/>
                  <a:pt x="157326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Graphic 6" descr="Coche">
            <a:extLst>
              <a:ext uri="{FF2B5EF4-FFF2-40B4-BE49-F238E27FC236}">
                <a16:creationId xmlns:a16="http://schemas.microsoft.com/office/drawing/2014/main" id="{E889F2CB-776F-4113-951A-136AF7AF2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1503" y="2129307"/>
            <a:ext cx="3217333" cy="3217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9394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17DE74-01C9-4859-B65A-85CF999E85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68C0432-0E90-4CC1-8CD3-D44A90DF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347414"/>
          </a:xfrm>
          <a:custGeom>
            <a:avLst/>
            <a:gdLst>
              <a:gd name="connsiteX0" fmla="*/ 0 w 12192000"/>
              <a:gd name="connsiteY0" fmla="*/ 0 h 2347414"/>
              <a:gd name="connsiteX1" fmla="*/ 12192000 w 12192000"/>
              <a:gd name="connsiteY1" fmla="*/ 0 h 2347414"/>
              <a:gd name="connsiteX2" fmla="*/ 12192000 w 12192000"/>
              <a:gd name="connsiteY2" fmla="*/ 1736458 h 2347414"/>
              <a:gd name="connsiteX3" fmla="*/ 11967601 w 12192000"/>
              <a:gd name="connsiteY3" fmla="*/ 1784034 h 2347414"/>
              <a:gd name="connsiteX4" fmla="*/ 10829000 w 12192000"/>
              <a:gd name="connsiteY4" fmla="*/ 1983294 h 2347414"/>
              <a:gd name="connsiteX5" fmla="*/ 10743779 w 12192000"/>
              <a:gd name="connsiteY5" fmla="*/ 1996027 h 2347414"/>
              <a:gd name="connsiteX6" fmla="*/ 10829254 w 12192000"/>
              <a:gd name="connsiteY6" fmla="*/ 1987751 h 2347414"/>
              <a:gd name="connsiteX7" fmla="*/ 10847162 w 12192000"/>
              <a:gd name="connsiteY7" fmla="*/ 1988388 h 2347414"/>
              <a:gd name="connsiteX8" fmla="*/ 11575155 w 12192000"/>
              <a:gd name="connsiteY8" fmla="*/ 1921415 h 2347414"/>
              <a:gd name="connsiteX9" fmla="*/ 12192000 w 12192000"/>
              <a:gd name="connsiteY9" fmla="*/ 1851213 h 2347414"/>
              <a:gd name="connsiteX10" fmla="*/ 12192000 w 12192000"/>
              <a:gd name="connsiteY10" fmla="*/ 1907356 h 2347414"/>
              <a:gd name="connsiteX11" fmla="*/ 12035532 w 12192000"/>
              <a:gd name="connsiteY11" fmla="*/ 1927033 h 2347414"/>
              <a:gd name="connsiteX12" fmla="*/ 11576932 w 12192000"/>
              <a:gd name="connsiteY12" fmla="*/ 1976291 h 2347414"/>
              <a:gd name="connsiteX13" fmla="*/ 10627316 w 12192000"/>
              <a:gd name="connsiteY13" fmla="*/ 2061470 h 2347414"/>
              <a:gd name="connsiteX14" fmla="*/ 9804196 w 12192000"/>
              <a:gd name="connsiteY14" fmla="*/ 2123478 h 2347414"/>
              <a:gd name="connsiteX15" fmla="*/ 9243851 w 12192000"/>
              <a:gd name="connsiteY15" fmla="*/ 2180008 h 2347414"/>
              <a:gd name="connsiteX16" fmla="*/ 8731259 w 12192000"/>
              <a:gd name="connsiteY16" fmla="*/ 2225081 h 2347414"/>
              <a:gd name="connsiteX17" fmla="*/ 8065752 w 12192000"/>
              <a:gd name="connsiteY17" fmla="*/ 2271681 h 2347414"/>
              <a:gd name="connsiteX18" fmla="*/ 7658065 w 12192000"/>
              <a:gd name="connsiteY18" fmla="*/ 2292562 h 2347414"/>
              <a:gd name="connsiteX19" fmla="*/ 6531024 w 12192000"/>
              <a:gd name="connsiteY19" fmla="*/ 2324138 h 2347414"/>
              <a:gd name="connsiteX20" fmla="*/ 6178331 w 12192000"/>
              <a:gd name="connsiteY20" fmla="*/ 2345655 h 2347414"/>
              <a:gd name="connsiteX21" fmla="*/ 5977282 w 12192000"/>
              <a:gd name="connsiteY21" fmla="*/ 2344127 h 2347414"/>
              <a:gd name="connsiteX22" fmla="*/ 5367658 w 12192000"/>
              <a:gd name="connsiteY22" fmla="*/ 2329230 h 2347414"/>
              <a:gd name="connsiteX23" fmla="*/ 4387306 w 12192000"/>
              <a:gd name="connsiteY23" fmla="*/ 2288614 h 2347414"/>
              <a:gd name="connsiteX24" fmla="*/ 4180287 w 12192000"/>
              <a:gd name="connsiteY24" fmla="*/ 2280211 h 2347414"/>
              <a:gd name="connsiteX25" fmla="*/ 3842199 w 12192000"/>
              <a:gd name="connsiteY25" fmla="*/ 2257039 h 2347414"/>
              <a:gd name="connsiteX26" fmla="*/ 3730309 w 12192000"/>
              <a:gd name="connsiteY26" fmla="*/ 2251182 h 2347414"/>
              <a:gd name="connsiteX27" fmla="*/ 3425496 w 12192000"/>
              <a:gd name="connsiteY27" fmla="*/ 2231320 h 2347414"/>
              <a:gd name="connsiteX28" fmla="*/ 3076106 w 12192000"/>
              <a:gd name="connsiteY28" fmla="*/ 2201781 h 2347414"/>
              <a:gd name="connsiteX29" fmla="*/ 2819682 w 12192000"/>
              <a:gd name="connsiteY29" fmla="*/ 2182427 h 2347414"/>
              <a:gd name="connsiteX30" fmla="*/ 2525539 w 12192000"/>
              <a:gd name="connsiteY30" fmla="*/ 2152888 h 2347414"/>
              <a:gd name="connsiteX31" fmla="*/ 2311915 w 12192000"/>
              <a:gd name="connsiteY31" fmla="*/ 2133536 h 2347414"/>
              <a:gd name="connsiteX32" fmla="*/ 2054223 w 12192000"/>
              <a:gd name="connsiteY32" fmla="*/ 2104760 h 2347414"/>
              <a:gd name="connsiteX33" fmla="*/ 1865367 w 12192000"/>
              <a:gd name="connsiteY33" fmla="*/ 2084770 h 2347414"/>
              <a:gd name="connsiteX34" fmla="*/ 1629263 w 12192000"/>
              <a:gd name="connsiteY34" fmla="*/ 2055996 h 2347414"/>
              <a:gd name="connsiteX35" fmla="*/ 1458823 w 12192000"/>
              <a:gd name="connsiteY35" fmla="*/ 2035751 h 2347414"/>
              <a:gd name="connsiteX36" fmla="*/ 1241390 w 12192000"/>
              <a:gd name="connsiteY36" fmla="*/ 2007103 h 2347414"/>
              <a:gd name="connsiteX37" fmla="*/ 1047453 w 12192000"/>
              <a:gd name="connsiteY37" fmla="*/ 1980748 h 2347414"/>
              <a:gd name="connsiteX38" fmla="*/ 814907 w 12192000"/>
              <a:gd name="connsiteY38" fmla="*/ 1949045 h 2347414"/>
              <a:gd name="connsiteX39" fmla="*/ 592649 w 12192000"/>
              <a:gd name="connsiteY39" fmla="*/ 1913776 h 2347414"/>
              <a:gd name="connsiteX40" fmla="*/ 343591 w 12192000"/>
              <a:gd name="connsiteY40" fmla="*/ 1872650 h 2347414"/>
              <a:gd name="connsiteX41" fmla="*/ 35731 w 12192000"/>
              <a:gd name="connsiteY41" fmla="*/ 1821722 h 2347414"/>
              <a:gd name="connsiteX42" fmla="*/ 0 w 12192000"/>
              <a:gd name="connsiteY42" fmla="*/ 1814848 h 2347414"/>
              <a:gd name="connsiteX43" fmla="*/ 0 w 12192000"/>
              <a:gd name="connsiteY43" fmla="*/ 1758489 h 2347414"/>
              <a:gd name="connsiteX44" fmla="*/ 274248 w 12192000"/>
              <a:gd name="connsiteY44" fmla="*/ 1808735 h 2347414"/>
              <a:gd name="connsiteX45" fmla="*/ 498157 w 12192000"/>
              <a:gd name="connsiteY45" fmla="*/ 1846167 h 2347414"/>
              <a:gd name="connsiteX46" fmla="*/ 722828 w 12192000"/>
              <a:gd name="connsiteY46" fmla="*/ 1878635 h 2347414"/>
              <a:gd name="connsiteX47" fmla="*/ 949913 w 12192000"/>
              <a:gd name="connsiteY47" fmla="*/ 1912375 h 2347414"/>
              <a:gd name="connsiteX48" fmla="*/ 1195414 w 12192000"/>
              <a:gd name="connsiteY48" fmla="*/ 1947516 h 2347414"/>
              <a:gd name="connsiteX49" fmla="*/ 1342867 w 12192000"/>
              <a:gd name="connsiteY49" fmla="*/ 1968397 h 2347414"/>
              <a:gd name="connsiteX50" fmla="*/ 1518007 w 12192000"/>
              <a:gd name="connsiteY50" fmla="*/ 1988006 h 2347414"/>
              <a:gd name="connsiteX51" fmla="*/ 1701403 w 12192000"/>
              <a:gd name="connsiteY51" fmla="*/ 2010669 h 2347414"/>
              <a:gd name="connsiteX52" fmla="*/ 1879210 w 12192000"/>
              <a:gd name="connsiteY52" fmla="*/ 2031167 h 2347414"/>
              <a:gd name="connsiteX53" fmla="*/ 2068702 w 12192000"/>
              <a:gd name="connsiteY53" fmla="*/ 2052940 h 2347414"/>
              <a:gd name="connsiteX54" fmla="*/ 2212090 w 12192000"/>
              <a:gd name="connsiteY54" fmla="*/ 2067583 h 2347414"/>
              <a:gd name="connsiteX55" fmla="*/ 2416949 w 12192000"/>
              <a:gd name="connsiteY55" fmla="*/ 2089609 h 2347414"/>
              <a:gd name="connsiteX56" fmla="*/ 2582055 w 12192000"/>
              <a:gd name="connsiteY56" fmla="*/ 2105397 h 2347414"/>
              <a:gd name="connsiteX57" fmla="*/ 2802282 w 12192000"/>
              <a:gd name="connsiteY57" fmla="*/ 2126405 h 2347414"/>
              <a:gd name="connsiteX58" fmla="*/ 2984916 w 12192000"/>
              <a:gd name="connsiteY58" fmla="*/ 2141684 h 2347414"/>
              <a:gd name="connsiteX59" fmla="*/ 3241847 w 12192000"/>
              <a:gd name="connsiteY59" fmla="*/ 2164094 h 2347414"/>
              <a:gd name="connsiteX60" fmla="*/ 3439848 w 12192000"/>
              <a:gd name="connsiteY60" fmla="*/ 2176826 h 2347414"/>
              <a:gd name="connsiteX61" fmla="*/ 3658678 w 12192000"/>
              <a:gd name="connsiteY61" fmla="*/ 2194523 h 2347414"/>
              <a:gd name="connsiteX62" fmla="*/ 3881317 w 12192000"/>
              <a:gd name="connsiteY62" fmla="*/ 2206491 h 2347414"/>
              <a:gd name="connsiteX63" fmla="*/ 4148916 w 12192000"/>
              <a:gd name="connsiteY63" fmla="*/ 2225081 h 2347414"/>
              <a:gd name="connsiteX64" fmla="*/ 4468337 w 12192000"/>
              <a:gd name="connsiteY64" fmla="*/ 2237813 h 2347414"/>
              <a:gd name="connsiteX65" fmla="*/ 4605375 w 12192000"/>
              <a:gd name="connsiteY65" fmla="*/ 2240232 h 2347414"/>
              <a:gd name="connsiteX66" fmla="*/ 4527647 w 12192000"/>
              <a:gd name="connsiteY66" fmla="*/ 2236412 h 2347414"/>
              <a:gd name="connsiteX67" fmla="*/ 4175589 w 12192000"/>
              <a:gd name="connsiteY67" fmla="*/ 2212985 h 2347414"/>
              <a:gd name="connsiteX68" fmla="*/ 3988255 w 12192000"/>
              <a:gd name="connsiteY68" fmla="*/ 2200253 h 2347414"/>
              <a:gd name="connsiteX69" fmla="*/ 3686492 w 12192000"/>
              <a:gd name="connsiteY69" fmla="*/ 2176062 h 2347414"/>
              <a:gd name="connsiteX70" fmla="*/ 3517320 w 12192000"/>
              <a:gd name="connsiteY70" fmla="*/ 2163330 h 2347414"/>
              <a:gd name="connsiteX71" fmla="*/ 3258357 w 12192000"/>
              <a:gd name="connsiteY71" fmla="*/ 2139519 h 2347414"/>
              <a:gd name="connsiteX72" fmla="*/ 3101506 w 12192000"/>
              <a:gd name="connsiteY72" fmla="*/ 2126787 h 2347414"/>
              <a:gd name="connsiteX73" fmla="*/ 2809395 w 12192000"/>
              <a:gd name="connsiteY73" fmla="*/ 2097502 h 2347414"/>
              <a:gd name="connsiteX74" fmla="*/ 2598566 w 12192000"/>
              <a:gd name="connsiteY74" fmla="*/ 2078532 h 2347414"/>
              <a:gd name="connsiteX75" fmla="*/ 2337444 w 12192000"/>
              <a:gd name="connsiteY75" fmla="*/ 2048611 h 2347414"/>
              <a:gd name="connsiteX76" fmla="*/ 2091054 w 12192000"/>
              <a:gd name="connsiteY76" fmla="*/ 2023146 h 2347414"/>
              <a:gd name="connsiteX77" fmla="*/ 1755761 w 12192000"/>
              <a:gd name="connsiteY77" fmla="*/ 1981384 h 2347414"/>
              <a:gd name="connsiteX78" fmla="*/ 1441169 w 12192000"/>
              <a:gd name="connsiteY78" fmla="*/ 1943824 h 2347414"/>
              <a:gd name="connsiteX79" fmla="*/ 1017607 w 12192000"/>
              <a:gd name="connsiteY79" fmla="*/ 1883345 h 2347414"/>
              <a:gd name="connsiteX80" fmla="*/ 594427 w 12192000"/>
              <a:gd name="connsiteY80" fmla="*/ 1821849 h 2347414"/>
              <a:gd name="connsiteX81" fmla="*/ 200711 w 12192000"/>
              <a:gd name="connsiteY81" fmla="*/ 1755132 h 2347414"/>
              <a:gd name="connsiteX82" fmla="*/ 0 w 12192000"/>
              <a:gd name="connsiteY82" fmla="*/ 1718743 h 234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2192000" h="2347414">
                <a:moveTo>
                  <a:pt x="0" y="0"/>
                </a:moveTo>
                <a:lnTo>
                  <a:pt x="12192000" y="0"/>
                </a:lnTo>
                <a:lnTo>
                  <a:pt x="12192000" y="1736458"/>
                </a:lnTo>
                <a:lnTo>
                  <a:pt x="11967601" y="1784034"/>
                </a:lnTo>
                <a:cubicBezTo>
                  <a:pt x="11589888" y="1859409"/>
                  <a:pt x="11209762" y="1923961"/>
                  <a:pt x="10829000" y="1983294"/>
                </a:cubicBezTo>
                <a:lnTo>
                  <a:pt x="10743779" y="1996027"/>
                </a:lnTo>
                <a:cubicBezTo>
                  <a:pt x="10772495" y="1996778"/>
                  <a:pt x="10801211" y="1993989"/>
                  <a:pt x="10829254" y="1987751"/>
                </a:cubicBezTo>
                <a:cubicBezTo>
                  <a:pt x="10835198" y="1988337"/>
                  <a:pt x="10841180" y="1988553"/>
                  <a:pt x="10847162" y="1988388"/>
                </a:cubicBezTo>
                <a:cubicBezTo>
                  <a:pt x="11090123" y="1968907"/>
                  <a:pt x="11332703" y="1945734"/>
                  <a:pt x="11575155" y="1921415"/>
                </a:cubicBezTo>
                <a:lnTo>
                  <a:pt x="12192000" y="1851213"/>
                </a:lnTo>
                <a:lnTo>
                  <a:pt x="12192000" y="1907356"/>
                </a:lnTo>
                <a:lnTo>
                  <a:pt x="12035532" y="1927033"/>
                </a:lnTo>
                <a:cubicBezTo>
                  <a:pt x="11882793" y="1944747"/>
                  <a:pt x="11729910" y="1961077"/>
                  <a:pt x="11576932" y="1976291"/>
                </a:cubicBezTo>
                <a:cubicBezTo>
                  <a:pt x="11260690" y="2008122"/>
                  <a:pt x="10944193" y="2037279"/>
                  <a:pt x="10627316" y="2061470"/>
                </a:cubicBezTo>
                <a:cubicBezTo>
                  <a:pt x="10352985" y="2082351"/>
                  <a:pt x="10078401" y="2100431"/>
                  <a:pt x="9804196" y="2123478"/>
                </a:cubicBezTo>
                <a:cubicBezTo>
                  <a:pt x="9617118" y="2139137"/>
                  <a:pt x="9430675" y="2161674"/>
                  <a:pt x="9243851" y="2180008"/>
                </a:cubicBezTo>
                <a:cubicBezTo>
                  <a:pt x="9073157" y="2196433"/>
                  <a:pt x="8902207" y="2211966"/>
                  <a:pt x="8731259" y="2225081"/>
                </a:cubicBezTo>
                <a:cubicBezTo>
                  <a:pt x="8509507" y="2242054"/>
                  <a:pt x="8287667" y="2257586"/>
                  <a:pt x="8065752" y="2271681"/>
                </a:cubicBezTo>
                <a:cubicBezTo>
                  <a:pt x="7929984" y="2280466"/>
                  <a:pt x="7793961" y="2285814"/>
                  <a:pt x="7658065" y="2292562"/>
                </a:cubicBezTo>
                <a:cubicBezTo>
                  <a:pt x="7282640" y="2311661"/>
                  <a:pt x="6906704" y="2314208"/>
                  <a:pt x="6531024" y="2324138"/>
                </a:cubicBezTo>
                <a:cubicBezTo>
                  <a:pt x="6413417" y="2327322"/>
                  <a:pt x="6295937" y="2338399"/>
                  <a:pt x="6178331" y="2345655"/>
                </a:cubicBezTo>
                <a:cubicBezTo>
                  <a:pt x="6111271" y="2349730"/>
                  <a:pt x="6044342" y="2345655"/>
                  <a:pt x="5977282" y="2344127"/>
                </a:cubicBezTo>
                <a:cubicBezTo>
                  <a:pt x="5774073" y="2338908"/>
                  <a:pt x="5570866" y="2334960"/>
                  <a:pt x="5367658" y="2329230"/>
                </a:cubicBezTo>
                <a:cubicBezTo>
                  <a:pt x="5040746" y="2319809"/>
                  <a:pt x="4713963" y="2306274"/>
                  <a:pt x="4387306" y="2288614"/>
                </a:cubicBezTo>
                <a:cubicBezTo>
                  <a:pt x="4318342" y="2284796"/>
                  <a:pt x="4249253" y="2284286"/>
                  <a:pt x="4180287" y="2280211"/>
                </a:cubicBezTo>
                <a:cubicBezTo>
                  <a:pt x="4067634" y="2273463"/>
                  <a:pt x="3954980" y="2265060"/>
                  <a:pt x="3842199" y="2257039"/>
                </a:cubicBezTo>
                <a:cubicBezTo>
                  <a:pt x="3804988" y="2254492"/>
                  <a:pt x="3767648" y="2254620"/>
                  <a:pt x="3730309" y="2251182"/>
                </a:cubicBezTo>
                <a:cubicBezTo>
                  <a:pt x="3628704" y="2242142"/>
                  <a:pt x="3527101" y="2238449"/>
                  <a:pt x="3425496" y="2231320"/>
                </a:cubicBezTo>
                <a:cubicBezTo>
                  <a:pt x="3308906" y="2222534"/>
                  <a:pt x="3192569" y="2211330"/>
                  <a:pt x="3076106" y="2201781"/>
                </a:cubicBezTo>
                <a:cubicBezTo>
                  <a:pt x="2990757" y="2194905"/>
                  <a:pt x="2905157" y="2190067"/>
                  <a:pt x="2819682" y="2182427"/>
                </a:cubicBezTo>
                <a:cubicBezTo>
                  <a:pt x="2721507" y="2173515"/>
                  <a:pt x="2623586" y="2162311"/>
                  <a:pt x="2525539" y="2152888"/>
                </a:cubicBezTo>
                <a:cubicBezTo>
                  <a:pt x="2454289" y="2145886"/>
                  <a:pt x="2383038" y="2140920"/>
                  <a:pt x="2311915" y="2133536"/>
                </a:cubicBezTo>
                <a:cubicBezTo>
                  <a:pt x="2225933" y="2124749"/>
                  <a:pt x="2140204" y="2114182"/>
                  <a:pt x="2054223" y="2104760"/>
                </a:cubicBezTo>
                <a:cubicBezTo>
                  <a:pt x="1990719" y="2097758"/>
                  <a:pt x="1928233" y="2092028"/>
                  <a:pt x="1865367" y="2084770"/>
                </a:cubicBezTo>
                <a:cubicBezTo>
                  <a:pt x="1786622" y="2075603"/>
                  <a:pt x="1708006" y="2065545"/>
                  <a:pt x="1629263" y="2055996"/>
                </a:cubicBezTo>
                <a:cubicBezTo>
                  <a:pt x="1572492" y="2049120"/>
                  <a:pt x="1515595" y="2043264"/>
                  <a:pt x="1458823" y="2035751"/>
                </a:cubicBezTo>
                <a:cubicBezTo>
                  <a:pt x="1386303" y="2026585"/>
                  <a:pt x="1313784" y="2016780"/>
                  <a:pt x="1241390" y="2007103"/>
                </a:cubicBezTo>
                <a:lnTo>
                  <a:pt x="1047453" y="1980748"/>
                </a:lnTo>
                <a:cubicBezTo>
                  <a:pt x="969980" y="1970180"/>
                  <a:pt x="892254" y="1960377"/>
                  <a:pt x="814907" y="1949045"/>
                </a:cubicBezTo>
                <a:cubicBezTo>
                  <a:pt x="740609" y="1938094"/>
                  <a:pt x="666692" y="1925744"/>
                  <a:pt x="592649" y="1913776"/>
                </a:cubicBezTo>
                <a:cubicBezTo>
                  <a:pt x="509587" y="1900280"/>
                  <a:pt x="426653" y="1886274"/>
                  <a:pt x="343591" y="1872650"/>
                </a:cubicBezTo>
                <a:cubicBezTo>
                  <a:pt x="240972" y="1855716"/>
                  <a:pt x="138225" y="1839673"/>
                  <a:pt x="35731" y="1821722"/>
                </a:cubicBezTo>
                <a:lnTo>
                  <a:pt x="0" y="1814848"/>
                </a:lnTo>
                <a:lnTo>
                  <a:pt x="0" y="1758489"/>
                </a:lnTo>
                <a:lnTo>
                  <a:pt x="274248" y="1808735"/>
                </a:lnTo>
                <a:cubicBezTo>
                  <a:pt x="348926" y="1821467"/>
                  <a:pt x="423604" y="1832798"/>
                  <a:pt x="498157" y="1846167"/>
                </a:cubicBezTo>
                <a:cubicBezTo>
                  <a:pt x="572708" y="1859536"/>
                  <a:pt x="647896" y="1867813"/>
                  <a:pt x="722828" y="1878635"/>
                </a:cubicBezTo>
                <a:cubicBezTo>
                  <a:pt x="797762" y="1889457"/>
                  <a:pt x="874219" y="1901426"/>
                  <a:pt x="949913" y="1912375"/>
                </a:cubicBezTo>
                <a:cubicBezTo>
                  <a:pt x="1031704" y="1924343"/>
                  <a:pt x="1113496" y="1935802"/>
                  <a:pt x="1195414" y="1947516"/>
                </a:cubicBezTo>
                <a:cubicBezTo>
                  <a:pt x="1244566" y="1954519"/>
                  <a:pt x="1293589" y="1962285"/>
                  <a:pt x="1342867" y="1968397"/>
                </a:cubicBezTo>
                <a:cubicBezTo>
                  <a:pt x="1401162" y="1975656"/>
                  <a:pt x="1459712" y="1981130"/>
                  <a:pt x="1518007" y="1988006"/>
                </a:cubicBezTo>
                <a:cubicBezTo>
                  <a:pt x="1579224" y="1995263"/>
                  <a:pt x="1640186" y="2003411"/>
                  <a:pt x="1701403" y="2010669"/>
                </a:cubicBezTo>
                <a:cubicBezTo>
                  <a:pt x="1762618" y="2017926"/>
                  <a:pt x="1820279" y="2024292"/>
                  <a:pt x="1879210" y="2031167"/>
                </a:cubicBezTo>
                <a:cubicBezTo>
                  <a:pt x="1942712" y="2038425"/>
                  <a:pt x="2006214" y="2046064"/>
                  <a:pt x="2068702" y="2052940"/>
                </a:cubicBezTo>
                <a:cubicBezTo>
                  <a:pt x="2116455" y="2058160"/>
                  <a:pt x="2164335" y="2062362"/>
                  <a:pt x="2212090" y="2067583"/>
                </a:cubicBezTo>
                <a:cubicBezTo>
                  <a:pt x="2280419" y="2074967"/>
                  <a:pt x="2348493" y="2085152"/>
                  <a:pt x="2416949" y="2089609"/>
                </a:cubicBezTo>
                <a:cubicBezTo>
                  <a:pt x="2472070" y="2093302"/>
                  <a:pt x="2526936" y="2099540"/>
                  <a:pt x="2582055" y="2105397"/>
                </a:cubicBezTo>
                <a:cubicBezTo>
                  <a:pt x="2655337" y="2113291"/>
                  <a:pt x="2729001" y="2119785"/>
                  <a:pt x="2802282" y="2126405"/>
                </a:cubicBezTo>
                <a:cubicBezTo>
                  <a:pt x="2862991" y="2131753"/>
                  <a:pt x="2924207" y="2136337"/>
                  <a:pt x="2984916" y="2141684"/>
                </a:cubicBezTo>
                <a:cubicBezTo>
                  <a:pt x="3070516" y="2149324"/>
                  <a:pt x="3156373" y="2152888"/>
                  <a:pt x="3241847" y="2164094"/>
                </a:cubicBezTo>
                <a:cubicBezTo>
                  <a:pt x="3307255" y="2172624"/>
                  <a:pt x="3374060" y="2169822"/>
                  <a:pt x="3439848" y="2176826"/>
                </a:cubicBezTo>
                <a:cubicBezTo>
                  <a:pt x="3512622" y="2184592"/>
                  <a:pt x="3585777" y="2186247"/>
                  <a:pt x="3658678" y="2194523"/>
                </a:cubicBezTo>
                <a:cubicBezTo>
                  <a:pt x="3731578" y="2202800"/>
                  <a:pt x="3807019" y="2201781"/>
                  <a:pt x="3881317" y="2206491"/>
                </a:cubicBezTo>
                <a:cubicBezTo>
                  <a:pt x="3970222" y="2212094"/>
                  <a:pt x="4059124" y="2223552"/>
                  <a:pt x="4148916" y="2225081"/>
                </a:cubicBezTo>
                <a:cubicBezTo>
                  <a:pt x="4255600" y="2226736"/>
                  <a:pt x="4361779" y="2236539"/>
                  <a:pt x="4468337" y="2237813"/>
                </a:cubicBezTo>
                <a:cubicBezTo>
                  <a:pt x="4511390" y="2238577"/>
                  <a:pt x="4554190" y="2246852"/>
                  <a:pt x="4605375" y="2240232"/>
                </a:cubicBezTo>
                <a:cubicBezTo>
                  <a:pt x="4574131" y="2238704"/>
                  <a:pt x="4550762" y="2237940"/>
                  <a:pt x="4527647" y="2236412"/>
                </a:cubicBezTo>
                <a:cubicBezTo>
                  <a:pt x="4410293" y="2228773"/>
                  <a:pt x="4292942" y="2220751"/>
                  <a:pt x="4175589" y="2212985"/>
                </a:cubicBezTo>
                <a:cubicBezTo>
                  <a:pt x="4113101" y="2208783"/>
                  <a:pt x="4050615" y="2205219"/>
                  <a:pt x="3988255" y="2200253"/>
                </a:cubicBezTo>
                <a:cubicBezTo>
                  <a:pt x="3887668" y="2192487"/>
                  <a:pt x="3787079" y="2184082"/>
                  <a:pt x="3686492" y="2176062"/>
                </a:cubicBezTo>
                <a:cubicBezTo>
                  <a:pt x="3630102" y="2171605"/>
                  <a:pt x="3573711" y="2168040"/>
                  <a:pt x="3517320" y="2163330"/>
                </a:cubicBezTo>
                <a:cubicBezTo>
                  <a:pt x="3430958" y="2155689"/>
                  <a:pt x="3344721" y="2147159"/>
                  <a:pt x="3258357" y="2139519"/>
                </a:cubicBezTo>
                <a:cubicBezTo>
                  <a:pt x="3206031" y="2134809"/>
                  <a:pt x="3153705" y="2131371"/>
                  <a:pt x="3101506" y="2126787"/>
                </a:cubicBezTo>
                <a:cubicBezTo>
                  <a:pt x="3004220" y="2117365"/>
                  <a:pt x="2907061" y="2106798"/>
                  <a:pt x="2809395" y="2097502"/>
                </a:cubicBezTo>
                <a:cubicBezTo>
                  <a:pt x="2739161" y="2090628"/>
                  <a:pt x="2668673" y="2085916"/>
                  <a:pt x="2598566" y="2078532"/>
                </a:cubicBezTo>
                <a:cubicBezTo>
                  <a:pt x="2511441" y="2069365"/>
                  <a:pt x="2424569" y="2058160"/>
                  <a:pt x="2337444" y="2048611"/>
                </a:cubicBezTo>
                <a:cubicBezTo>
                  <a:pt x="2255399" y="2039699"/>
                  <a:pt x="2173099" y="2032950"/>
                  <a:pt x="2091054" y="2023146"/>
                </a:cubicBezTo>
                <a:cubicBezTo>
                  <a:pt x="1979162" y="2010414"/>
                  <a:pt x="1867524" y="1995008"/>
                  <a:pt x="1755761" y="1981384"/>
                </a:cubicBezTo>
                <a:cubicBezTo>
                  <a:pt x="1650982" y="1968652"/>
                  <a:pt x="1545821" y="1957830"/>
                  <a:pt x="1441169" y="1943824"/>
                </a:cubicBezTo>
                <a:cubicBezTo>
                  <a:pt x="1299813" y="1924980"/>
                  <a:pt x="1158837" y="1903718"/>
                  <a:pt x="1017607" y="1883345"/>
                </a:cubicBezTo>
                <a:cubicBezTo>
                  <a:pt x="876378" y="1862974"/>
                  <a:pt x="735402" y="1844003"/>
                  <a:pt x="594427" y="1821849"/>
                </a:cubicBezTo>
                <a:cubicBezTo>
                  <a:pt x="462850" y="1801222"/>
                  <a:pt x="331526" y="1778304"/>
                  <a:pt x="200711" y="1755132"/>
                </a:cubicBezTo>
                <a:lnTo>
                  <a:pt x="0" y="1718743"/>
                </a:lnTo>
                <a:close/>
              </a:path>
            </a:pathLst>
          </a:custGeom>
          <a:solidFill>
            <a:schemeClr val="accent2"/>
          </a:solidFill>
          <a:ln w="81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55D0AB6-2E9F-40DC-AE5E-95029B2B4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221"/>
            <a:ext cx="10515600" cy="1348065"/>
          </a:xfrm>
        </p:spPr>
        <p:txBody>
          <a:bodyPr>
            <a:normAutofit/>
          </a:bodyPr>
          <a:lstStyle/>
          <a:p>
            <a:r>
              <a:rPr lang="fr-FR" sz="5400">
                <a:solidFill>
                  <a:srgbClr val="FFFFFF"/>
                </a:solidFill>
              </a:rPr>
              <a:t>Catégories d’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446EB7-E210-43B1-9FEF-9EBC83FC52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0" y="2586789"/>
            <a:ext cx="11877260" cy="3590174"/>
          </a:xfrm>
        </p:spPr>
        <p:txBody>
          <a:bodyPr>
            <a:normAutofit/>
          </a:bodyPr>
          <a:lstStyle/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 constants ou linéaires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s par unités d'œuvre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amortissements par composant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fiscalement autorisés (basés sur la durée d'usage)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dégressifs ;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2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les amortissements exceptionnels.</a:t>
            </a:r>
            <a:endParaRPr lang="fr-FR" sz="22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200" dirty="0"/>
          </a:p>
        </p:txBody>
      </p:sp>
    </p:spTree>
    <p:extLst>
      <p:ext uri="{BB962C8B-B14F-4D97-AF65-F5344CB8AC3E}">
        <p14:creationId xmlns:p14="http://schemas.microsoft.com/office/powerpoint/2010/main" val="15572495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C17DE74-01C9-4859-B65A-85CF999E85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68C0432-0E90-4CC1-8CD3-D44A90DF0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347414"/>
          </a:xfrm>
          <a:custGeom>
            <a:avLst/>
            <a:gdLst>
              <a:gd name="connsiteX0" fmla="*/ 0 w 12192000"/>
              <a:gd name="connsiteY0" fmla="*/ 0 h 2347414"/>
              <a:gd name="connsiteX1" fmla="*/ 12192000 w 12192000"/>
              <a:gd name="connsiteY1" fmla="*/ 0 h 2347414"/>
              <a:gd name="connsiteX2" fmla="*/ 12192000 w 12192000"/>
              <a:gd name="connsiteY2" fmla="*/ 1736458 h 2347414"/>
              <a:gd name="connsiteX3" fmla="*/ 11967601 w 12192000"/>
              <a:gd name="connsiteY3" fmla="*/ 1784034 h 2347414"/>
              <a:gd name="connsiteX4" fmla="*/ 10829000 w 12192000"/>
              <a:gd name="connsiteY4" fmla="*/ 1983294 h 2347414"/>
              <a:gd name="connsiteX5" fmla="*/ 10743779 w 12192000"/>
              <a:gd name="connsiteY5" fmla="*/ 1996027 h 2347414"/>
              <a:gd name="connsiteX6" fmla="*/ 10829254 w 12192000"/>
              <a:gd name="connsiteY6" fmla="*/ 1987751 h 2347414"/>
              <a:gd name="connsiteX7" fmla="*/ 10847162 w 12192000"/>
              <a:gd name="connsiteY7" fmla="*/ 1988388 h 2347414"/>
              <a:gd name="connsiteX8" fmla="*/ 11575155 w 12192000"/>
              <a:gd name="connsiteY8" fmla="*/ 1921415 h 2347414"/>
              <a:gd name="connsiteX9" fmla="*/ 12192000 w 12192000"/>
              <a:gd name="connsiteY9" fmla="*/ 1851213 h 2347414"/>
              <a:gd name="connsiteX10" fmla="*/ 12192000 w 12192000"/>
              <a:gd name="connsiteY10" fmla="*/ 1907356 h 2347414"/>
              <a:gd name="connsiteX11" fmla="*/ 12035532 w 12192000"/>
              <a:gd name="connsiteY11" fmla="*/ 1927033 h 2347414"/>
              <a:gd name="connsiteX12" fmla="*/ 11576932 w 12192000"/>
              <a:gd name="connsiteY12" fmla="*/ 1976291 h 2347414"/>
              <a:gd name="connsiteX13" fmla="*/ 10627316 w 12192000"/>
              <a:gd name="connsiteY13" fmla="*/ 2061470 h 2347414"/>
              <a:gd name="connsiteX14" fmla="*/ 9804196 w 12192000"/>
              <a:gd name="connsiteY14" fmla="*/ 2123478 h 2347414"/>
              <a:gd name="connsiteX15" fmla="*/ 9243851 w 12192000"/>
              <a:gd name="connsiteY15" fmla="*/ 2180008 h 2347414"/>
              <a:gd name="connsiteX16" fmla="*/ 8731259 w 12192000"/>
              <a:gd name="connsiteY16" fmla="*/ 2225081 h 2347414"/>
              <a:gd name="connsiteX17" fmla="*/ 8065752 w 12192000"/>
              <a:gd name="connsiteY17" fmla="*/ 2271681 h 2347414"/>
              <a:gd name="connsiteX18" fmla="*/ 7658065 w 12192000"/>
              <a:gd name="connsiteY18" fmla="*/ 2292562 h 2347414"/>
              <a:gd name="connsiteX19" fmla="*/ 6531024 w 12192000"/>
              <a:gd name="connsiteY19" fmla="*/ 2324138 h 2347414"/>
              <a:gd name="connsiteX20" fmla="*/ 6178331 w 12192000"/>
              <a:gd name="connsiteY20" fmla="*/ 2345655 h 2347414"/>
              <a:gd name="connsiteX21" fmla="*/ 5977282 w 12192000"/>
              <a:gd name="connsiteY21" fmla="*/ 2344127 h 2347414"/>
              <a:gd name="connsiteX22" fmla="*/ 5367658 w 12192000"/>
              <a:gd name="connsiteY22" fmla="*/ 2329230 h 2347414"/>
              <a:gd name="connsiteX23" fmla="*/ 4387306 w 12192000"/>
              <a:gd name="connsiteY23" fmla="*/ 2288614 h 2347414"/>
              <a:gd name="connsiteX24" fmla="*/ 4180287 w 12192000"/>
              <a:gd name="connsiteY24" fmla="*/ 2280211 h 2347414"/>
              <a:gd name="connsiteX25" fmla="*/ 3842199 w 12192000"/>
              <a:gd name="connsiteY25" fmla="*/ 2257039 h 2347414"/>
              <a:gd name="connsiteX26" fmla="*/ 3730309 w 12192000"/>
              <a:gd name="connsiteY26" fmla="*/ 2251182 h 2347414"/>
              <a:gd name="connsiteX27" fmla="*/ 3425496 w 12192000"/>
              <a:gd name="connsiteY27" fmla="*/ 2231320 h 2347414"/>
              <a:gd name="connsiteX28" fmla="*/ 3076106 w 12192000"/>
              <a:gd name="connsiteY28" fmla="*/ 2201781 h 2347414"/>
              <a:gd name="connsiteX29" fmla="*/ 2819682 w 12192000"/>
              <a:gd name="connsiteY29" fmla="*/ 2182427 h 2347414"/>
              <a:gd name="connsiteX30" fmla="*/ 2525539 w 12192000"/>
              <a:gd name="connsiteY30" fmla="*/ 2152888 h 2347414"/>
              <a:gd name="connsiteX31" fmla="*/ 2311915 w 12192000"/>
              <a:gd name="connsiteY31" fmla="*/ 2133536 h 2347414"/>
              <a:gd name="connsiteX32" fmla="*/ 2054223 w 12192000"/>
              <a:gd name="connsiteY32" fmla="*/ 2104760 h 2347414"/>
              <a:gd name="connsiteX33" fmla="*/ 1865367 w 12192000"/>
              <a:gd name="connsiteY33" fmla="*/ 2084770 h 2347414"/>
              <a:gd name="connsiteX34" fmla="*/ 1629263 w 12192000"/>
              <a:gd name="connsiteY34" fmla="*/ 2055996 h 2347414"/>
              <a:gd name="connsiteX35" fmla="*/ 1458823 w 12192000"/>
              <a:gd name="connsiteY35" fmla="*/ 2035751 h 2347414"/>
              <a:gd name="connsiteX36" fmla="*/ 1241390 w 12192000"/>
              <a:gd name="connsiteY36" fmla="*/ 2007103 h 2347414"/>
              <a:gd name="connsiteX37" fmla="*/ 1047453 w 12192000"/>
              <a:gd name="connsiteY37" fmla="*/ 1980748 h 2347414"/>
              <a:gd name="connsiteX38" fmla="*/ 814907 w 12192000"/>
              <a:gd name="connsiteY38" fmla="*/ 1949045 h 2347414"/>
              <a:gd name="connsiteX39" fmla="*/ 592649 w 12192000"/>
              <a:gd name="connsiteY39" fmla="*/ 1913776 h 2347414"/>
              <a:gd name="connsiteX40" fmla="*/ 343591 w 12192000"/>
              <a:gd name="connsiteY40" fmla="*/ 1872650 h 2347414"/>
              <a:gd name="connsiteX41" fmla="*/ 35731 w 12192000"/>
              <a:gd name="connsiteY41" fmla="*/ 1821722 h 2347414"/>
              <a:gd name="connsiteX42" fmla="*/ 0 w 12192000"/>
              <a:gd name="connsiteY42" fmla="*/ 1814848 h 2347414"/>
              <a:gd name="connsiteX43" fmla="*/ 0 w 12192000"/>
              <a:gd name="connsiteY43" fmla="*/ 1758489 h 2347414"/>
              <a:gd name="connsiteX44" fmla="*/ 274248 w 12192000"/>
              <a:gd name="connsiteY44" fmla="*/ 1808735 h 2347414"/>
              <a:gd name="connsiteX45" fmla="*/ 498157 w 12192000"/>
              <a:gd name="connsiteY45" fmla="*/ 1846167 h 2347414"/>
              <a:gd name="connsiteX46" fmla="*/ 722828 w 12192000"/>
              <a:gd name="connsiteY46" fmla="*/ 1878635 h 2347414"/>
              <a:gd name="connsiteX47" fmla="*/ 949913 w 12192000"/>
              <a:gd name="connsiteY47" fmla="*/ 1912375 h 2347414"/>
              <a:gd name="connsiteX48" fmla="*/ 1195414 w 12192000"/>
              <a:gd name="connsiteY48" fmla="*/ 1947516 h 2347414"/>
              <a:gd name="connsiteX49" fmla="*/ 1342867 w 12192000"/>
              <a:gd name="connsiteY49" fmla="*/ 1968397 h 2347414"/>
              <a:gd name="connsiteX50" fmla="*/ 1518007 w 12192000"/>
              <a:gd name="connsiteY50" fmla="*/ 1988006 h 2347414"/>
              <a:gd name="connsiteX51" fmla="*/ 1701403 w 12192000"/>
              <a:gd name="connsiteY51" fmla="*/ 2010669 h 2347414"/>
              <a:gd name="connsiteX52" fmla="*/ 1879210 w 12192000"/>
              <a:gd name="connsiteY52" fmla="*/ 2031167 h 2347414"/>
              <a:gd name="connsiteX53" fmla="*/ 2068702 w 12192000"/>
              <a:gd name="connsiteY53" fmla="*/ 2052940 h 2347414"/>
              <a:gd name="connsiteX54" fmla="*/ 2212090 w 12192000"/>
              <a:gd name="connsiteY54" fmla="*/ 2067583 h 2347414"/>
              <a:gd name="connsiteX55" fmla="*/ 2416949 w 12192000"/>
              <a:gd name="connsiteY55" fmla="*/ 2089609 h 2347414"/>
              <a:gd name="connsiteX56" fmla="*/ 2582055 w 12192000"/>
              <a:gd name="connsiteY56" fmla="*/ 2105397 h 2347414"/>
              <a:gd name="connsiteX57" fmla="*/ 2802282 w 12192000"/>
              <a:gd name="connsiteY57" fmla="*/ 2126405 h 2347414"/>
              <a:gd name="connsiteX58" fmla="*/ 2984916 w 12192000"/>
              <a:gd name="connsiteY58" fmla="*/ 2141684 h 2347414"/>
              <a:gd name="connsiteX59" fmla="*/ 3241847 w 12192000"/>
              <a:gd name="connsiteY59" fmla="*/ 2164094 h 2347414"/>
              <a:gd name="connsiteX60" fmla="*/ 3439848 w 12192000"/>
              <a:gd name="connsiteY60" fmla="*/ 2176826 h 2347414"/>
              <a:gd name="connsiteX61" fmla="*/ 3658678 w 12192000"/>
              <a:gd name="connsiteY61" fmla="*/ 2194523 h 2347414"/>
              <a:gd name="connsiteX62" fmla="*/ 3881317 w 12192000"/>
              <a:gd name="connsiteY62" fmla="*/ 2206491 h 2347414"/>
              <a:gd name="connsiteX63" fmla="*/ 4148916 w 12192000"/>
              <a:gd name="connsiteY63" fmla="*/ 2225081 h 2347414"/>
              <a:gd name="connsiteX64" fmla="*/ 4468337 w 12192000"/>
              <a:gd name="connsiteY64" fmla="*/ 2237813 h 2347414"/>
              <a:gd name="connsiteX65" fmla="*/ 4605375 w 12192000"/>
              <a:gd name="connsiteY65" fmla="*/ 2240232 h 2347414"/>
              <a:gd name="connsiteX66" fmla="*/ 4527647 w 12192000"/>
              <a:gd name="connsiteY66" fmla="*/ 2236412 h 2347414"/>
              <a:gd name="connsiteX67" fmla="*/ 4175589 w 12192000"/>
              <a:gd name="connsiteY67" fmla="*/ 2212985 h 2347414"/>
              <a:gd name="connsiteX68" fmla="*/ 3988255 w 12192000"/>
              <a:gd name="connsiteY68" fmla="*/ 2200253 h 2347414"/>
              <a:gd name="connsiteX69" fmla="*/ 3686492 w 12192000"/>
              <a:gd name="connsiteY69" fmla="*/ 2176062 h 2347414"/>
              <a:gd name="connsiteX70" fmla="*/ 3517320 w 12192000"/>
              <a:gd name="connsiteY70" fmla="*/ 2163330 h 2347414"/>
              <a:gd name="connsiteX71" fmla="*/ 3258357 w 12192000"/>
              <a:gd name="connsiteY71" fmla="*/ 2139519 h 2347414"/>
              <a:gd name="connsiteX72" fmla="*/ 3101506 w 12192000"/>
              <a:gd name="connsiteY72" fmla="*/ 2126787 h 2347414"/>
              <a:gd name="connsiteX73" fmla="*/ 2809395 w 12192000"/>
              <a:gd name="connsiteY73" fmla="*/ 2097502 h 2347414"/>
              <a:gd name="connsiteX74" fmla="*/ 2598566 w 12192000"/>
              <a:gd name="connsiteY74" fmla="*/ 2078532 h 2347414"/>
              <a:gd name="connsiteX75" fmla="*/ 2337444 w 12192000"/>
              <a:gd name="connsiteY75" fmla="*/ 2048611 h 2347414"/>
              <a:gd name="connsiteX76" fmla="*/ 2091054 w 12192000"/>
              <a:gd name="connsiteY76" fmla="*/ 2023146 h 2347414"/>
              <a:gd name="connsiteX77" fmla="*/ 1755761 w 12192000"/>
              <a:gd name="connsiteY77" fmla="*/ 1981384 h 2347414"/>
              <a:gd name="connsiteX78" fmla="*/ 1441169 w 12192000"/>
              <a:gd name="connsiteY78" fmla="*/ 1943824 h 2347414"/>
              <a:gd name="connsiteX79" fmla="*/ 1017607 w 12192000"/>
              <a:gd name="connsiteY79" fmla="*/ 1883345 h 2347414"/>
              <a:gd name="connsiteX80" fmla="*/ 594427 w 12192000"/>
              <a:gd name="connsiteY80" fmla="*/ 1821849 h 2347414"/>
              <a:gd name="connsiteX81" fmla="*/ 200711 w 12192000"/>
              <a:gd name="connsiteY81" fmla="*/ 1755132 h 2347414"/>
              <a:gd name="connsiteX82" fmla="*/ 0 w 12192000"/>
              <a:gd name="connsiteY82" fmla="*/ 1718743 h 234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12192000" h="2347414">
                <a:moveTo>
                  <a:pt x="0" y="0"/>
                </a:moveTo>
                <a:lnTo>
                  <a:pt x="12192000" y="0"/>
                </a:lnTo>
                <a:lnTo>
                  <a:pt x="12192000" y="1736458"/>
                </a:lnTo>
                <a:lnTo>
                  <a:pt x="11967601" y="1784034"/>
                </a:lnTo>
                <a:cubicBezTo>
                  <a:pt x="11589888" y="1859409"/>
                  <a:pt x="11209762" y="1923961"/>
                  <a:pt x="10829000" y="1983294"/>
                </a:cubicBezTo>
                <a:lnTo>
                  <a:pt x="10743779" y="1996027"/>
                </a:lnTo>
                <a:cubicBezTo>
                  <a:pt x="10772495" y="1996778"/>
                  <a:pt x="10801211" y="1993989"/>
                  <a:pt x="10829254" y="1987751"/>
                </a:cubicBezTo>
                <a:cubicBezTo>
                  <a:pt x="10835198" y="1988337"/>
                  <a:pt x="10841180" y="1988553"/>
                  <a:pt x="10847162" y="1988388"/>
                </a:cubicBezTo>
                <a:cubicBezTo>
                  <a:pt x="11090123" y="1968907"/>
                  <a:pt x="11332703" y="1945734"/>
                  <a:pt x="11575155" y="1921415"/>
                </a:cubicBezTo>
                <a:lnTo>
                  <a:pt x="12192000" y="1851213"/>
                </a:lnTo>
                <a:lnTo>
                  <a:pt x="12192000" y="1907356"/>
                </a:lnTo>
                <a:lnTo>
                  <a:pt x="12035532" y="1927033"/>
                </a:lnTo>
                <a:cubicBezTo>
                  <a:pt x="11882793" y="1944747"/>
                  <a:pt x="11729910" y="1961077"/>
                  <a:pt x="11576932" y="1976291"/>
                </a:cubicBezTo>
                <a:cubicBezTo>
                  <a:pt x="11260690" y="2008122"/>
                  <a:pt x="10944193" y="2037279"/>
                  <a:pt x="10627316" y="2061470"/>
                </a:cubicBezTo>
                <a:cubicBezTo>
                  <a:pt x="10352985" y="2082351"/>
                  <a:pt x="10078401" y="2100431"/>
                  <a:pt x="9804196" y="2123478"/>
                </a:cubicBezTo>
                <a:cubicBezTo>
                  <a:pt x="9617118" y="2139137"/>
                  <a:pt x="9430675" y="2161674"/>
                  <a:pt x="9243851" y="2180008"/>
                </a:cubicBezTo>
                <a:cubicBezTo>
                  <a:pt x="9073157" y="2196433"/>
                  <a:pt x="8902207" y="2211966"/>
                  <a:pt x="8731259" y="2225081"/>
                </a:cubicBezTo>
                <a:cubicBezTo>
                  <a:pt x="8509507" y="2242054"/>
                  <a:pt x="8287667" y="2257586"/>
                  <a:pt x="8065752" y="2271681"/>
                </a:cubicBezTo>
                <a:cubicBezTo>
                  <a:pt x="7929984" y="2280466"/>
                  <a:pt x="7793961" y="2285814"/>
                  <a:pt x="7658065" y="2292562"/>
                </a:cubicBezTo>
                <a:cubicBezTo>
                  <a:pt x="7282640" y="2311661"/>
                  <a:pt x="6906704" y="2314208"/>
                  <a:pt x="6531024" y="2324138"/>
                </a:cubicBezTo>
                <a:cubicBezTo>
                  <a:pt x="6413417" y="2327322"/>
                  <a:pt x="6295937" y="2338399"/>
                  <a:pt x="6178331" y="2345655"/>
                </a:cubicBezTo>
                <a:cubicBezTo>
                  <a:pt x="6111271" y="2349730"/>
                  <a:pt x="6044342" y="2345655"/>
                  <a:pt x="5977282" y="2344127"/>
                </a:cubicBezTo>
                <a:cubicBezTo>
                  <a:pt x="5774073" y="2338908"/>
                  <a:pt x="5570866" y="2334960"/>
                  <a:pt x="5367658" y="2329230"/>
                </a:cubicBezTo>
                <a:cubicBezTo>
                  <a:pt x="5040746" y="2319809"/>
                  <a:pt x="4713963" y="2306274"/>
                  <a:pt x="4387306" y="2288614"/>
                </a:cubicBezTo>
                <a:cubicBezTo>
                  <a:pt x="4318342" y="2284796"/>
                  <a:pt x="4249253" y="2284286"/>
                  <a:pt x="4180287" y="2280211"/>
                </a:cubicBezTo>
                <a:cubicBezTo>
                  <a:pt x="4067634" y="2273463"/>
                  <a:pt x="3954980" y="2265060"/>
                  <a:pt x="3842199" y="2257039"/>
                </a:cubicBezTo>
                <a:cubicBezTo>
                  <a:pt x="3804988" y="2254492"/>
                  <a:pt x="3767648" y="2254620"/>
                  <a:pt x="3730309" y="2251182"/>
                </a:cubicBezTo>
                <a:cubicBezTo>
                  <a:pt x="3628704" y="2242142"/>
                  <a:pt x="3527101" y="2238449"/>
                  <a:pt x="3425496" y="2231320"/>
                </a:cubicBezTo>
                <a:cubicBezTo>
                  <a:pt x="3308906" y="2222534"/>
                  <a:pt x="3192569" y="2211330"/>
                  <a:pt x="3076106" y="2201781"/>
                </a:cubicBezTo>
                <a:cubicBezTo>
                  <a:pt x="2990757" y="2194905"/>
                  <a:pt x="2905157" y="2190067"/>
                  <a:pt x="2819682" y="2182427"/>
                </a:cubicBezTo>
                <a:cubicBezTo>
                  <a:pt x="2721507" y="2173515"/>
                  <a:pt x="2623586" y="2162311"/>
                  <a:pt x="2525539" y="2152888"/>
                </a:cubicBezTo>
                <a:cubicBezTo>
                  <a:pt x="2454289" y="2145886"/>
                  <a:pt x="2383038" y="2140920"/>
                  <a:pt x="2311915" y="2133536"/>
                </a:cubicBezTo>
                <a:cubicBezTo>
                  <a:pt x="2225933" y="2124749"/>
                  <a:pt x="2140204" y="2114182"/>
                  <a:pt x="2054223" y="2104760"/>
                </a:cubicBezTo>
                <a:cubicBezTo>
                  <a:pt x="1990719" y="2097758"/>
                  <a:pt x="1928233" y="2092028"/>
                  <a:pt x="1865367" y="2084770"/>
                </a:cubicBezTo>
                <a:cubicBezTo>
                  <a:pt x="1786622" y="2075603"/>
                  <a:pt x="1708006" y="2065545"/>
                  <a:pt x="1629263" y="2055996"/>
                </a:cubicBezTo>
                <a:cubicBezTo>
                  <a:pt x="1572492" y="2049120"/>
                  <a:pt x="1515595" y="2043264"/>
                  <a:pt x="1458823" y="2035751"/>
                </a:cubicBezTo>
                <a:cubicBezTo>
                  <a:pt x="1386303" y="2026585"/>
                  <a:pt x="1313784" y="2016780"/>
                  <a:pt x="1241390" y="2007103"/>
                </a:cubicBezTo>
                <a:lnTo>
                  <a:pt x="1047453" y="1980748"/>
                </a:lnTo>
                <a:cubicBezTo>
                  <a:pt x="969980" y="1970180"/>
                  <a:pt x="892254" y="1960377"/>
                  <a:pt x="814907" y="1949045"/>
                </a:cubicBezTo>
                <a:cubicBezTo>
                  <a:pt x="740609" y="1938094"/>
                  <a:pt x="666692" y="1925744"/>
                  <a:pt x="592649" y="1913776"/>
                </a:cubicBezTo>
                <a:cubicBezTo>
                  <a:pt x="509587" y="1900280"/>
                  <a:pt x="426653" y="1886274"/>
                  <a:pt x="343591" y="1872650"/>
                </a:cubicBezTo>
                <a:cubicBezTo>
                  <a:pt x="240972" y="1855716"/>
                  <a:pt x="138225" y="1839673"/>
                  <a:pt x="35731" y="1821722"/>
                </a:cubicBezTo>
                <a:lnTo>
                  <a:pt x="0" y="1814848"/>
                </a:lnTo>
                <a:lnTo>
                  <a:pt x="0" y="1758489"/>
                </a:lnTo>
                <a:lnTo>
                  <a:pt x="274248" y="1808735"/>
                </a:lnTo>
                <a:cubicBezTo>
                  <a:pt x="348926" y="1821467"/>
                  <a:pt x="423604" y="1832798"/>
                  <a:pt x="498157" y="1846167"/>
                </a:cubicBezTo>
                <a:cubicBezTo>
                  <a:pt x="572708" y="1859536"/>
                  <a:pt x="647896" y="1867813"/>
                  <a:pt x="722828" y="1878635"/>
                </a:cubicBezTo>
                <a:cubicBezTo>
                  <a:pt x="797762" y="1889457"/>
                  <a:pt x="874219" y="1901426"/>
                  <a:pt x="949913" y="1912375"/>
                </a:cubicBezTo>
                <a:cubicBezTo>
                  <a:pt x="1031704" y="1924343"/>
                  <a:pt x="1113496" y="1935802"/>
                  <a:pt x="1195414" y="1947516"/>
                </a:cubicBezTo>
                <a:cubicBezTo>
                  <a:pt x="1244566" y="1954519"/>
                  <a:pt x="1293589" y="1962285"/>
                  <a:pt x="1342867" y="1968397"/>
                </a:cubicBezTo>
                <a:cubicBezTo>
                  <a:pt x="1401162" y="1975656"/>
                  <a:pt x="1459712" y="1981130"/>
                  <a:pt x="1518007" y="1988006"/>
                </a:cubicBezTo>
                <a:cubicBezTo>
                  <a:pt x="1579224" y="1995263"/>
                  <a:pt x="1640186" y="2003411"/>
                  <a:pt x="1701403" y="2010669"/>
                </a:cubicBezTo>
                <a:cubicBezTo>
                  <a:pt x="1762618" y="2017926"/>
                  <a:pt x="1820279" y="2024292"/>
                  <a:pt x="1879210" y="2031167"/>
                </a:cubicBezTo>
                <a:cubicBezTo>
                  <a:pt x="1942712" y="2038425"/>
                  <a:pt x="2006214" y="2046064"/>
                  <a:pt x="2068702" y="2052940"/>
                </a:cubicBezTo>
                <a:cubicBezTo>
                  <a:pt x="2116455" y="2058160"/>
                  <a:pt x="2164335" y="2062362"/>
                  <a:pt x="2212090" y="2067583"/>
                </a:cubicBezTo>
                <a:cubicBezTo>
                  <a:pt x="2280419" y="2074967"/>
                  <a:pt x="2348493" y="2085152"/>
                  <a:pt x="2416949" y="2089609"/>
                </a:cubicBezTo>
                <a:cubicBezTo>
                  <a:pt x="2472070" y="2093302"/>
                  <a:pt x="2526936" y="2099540"/>
                  <a:pt x="2582055" y="2105397"/>
                </a:cubicBezTo>
                <a:cubicBezTo>
                  <a:pt x="2655337" y="2113291"/>
                  <a:pt x="2729001" y="2119785"/>
                  <a:pt x="2802282" y="2126405"/>
                </a:cubicBezTo>
                <a:cubicBezTo>
                  <a:pt x="2862991" y="2131753"/>
                  <a:pt x="2924207" y="2136337"/>
                  <a:pt x="2984916" y="2141684"/>
                </a:cubicBezTo>
                <a:cubicBezTo>
                  <a:pt x="3070516" y="2149324"/>
                  <a:pt x="3156373" y="2152888"/>
                  <a:pt x="3241847" y="2164094"/>
                </a:cubicBezTo>
                <a:cubicBezTo>
                  <a:pt x="3307255" y="2172624"/>
                  <a:pt x="3374060" y="2169822"/>
                  <a:pt x="3439848" y="2176826"/>
                </a:cubicBezTo>
                <a:cubicBezTo>
                  <a:pt x="3512622" y="2184592"/>
                  <a:pt x="3585777" y="2186247"/>
                  <a:pt x="3658678" y="2194523"/>
                </a:cubicBezTo>
                <a:cubicBezTo>
                  <a:pt x="3731578" y="2202800"/>
                  <a:pt x="3807019" y="2201781"/>
                  <a:pt x="3881317" y="2206491"/>
                </a:cubicBezTo>
                <a:cubicBezTo>
                  <a:pt x="3970222" y="2212094"/>
                  <a:pt x="4059124" y="2223552"/>
                  <a:pt x="4148916" y="2225081"/>
                </a:cubicBezTo>
                <a:cubicBezTo>
                  <a:pt x="4255600" y="2226736"/>
                  <a:pt x="4361779" y="2236539"/>
                  <a:pt x="4468337" y="2237813"/>
                </a:cubicBezTo>
                <a:cubicBezTo>
                  <a:pt x="4511390" y="2238577"/>
                  <a:pt x="4554190" y="2246852"/>
                  <a:pt x="4605375" y="2240232"/>
                </a:cubicBezTo>
                <a:cubicBezTo>
                  <a:pt x="4574131" y="2238704"/>
                  <a:pt x="4550762" y="2237940"/>
                  <a:pt x="4527647" y="2236412"/>
                </a:cubicBezTo>
                <a:cubicBezTo>
                  <a:pt x="4410293" y="2228773"/>
                  <a:pt x="4292942" y="2220751"/>
                  <a:pt x="4175589" y="2212985"/>
                </a:cubicBezTo>
                <a:cubicBezTo>
                  <a:pt x="4113101" y="2208783"/>
                  <a:pt x="4050615" y="2205219"/>
                  <a:pt x="3988255" y="2200253"/>
                </a:cubicBezTo>
                <a:cubicBezTo>
                  <a:pt x="3887668" y="2192487"/>
                  <a:pt x="3787079" y="2184082"/>
                  <a:pt x="3686492" y="2176062"/>
                </a:cubicBezTo>
                <a:cubicBezTo>
                  <a:pt x="3630102" y="2171605"/>
                  <a:pt x="3573711" y="2168040"/>
                  <a:pt x="3517320" y="2163330"/>
                </a:cubicBezTo>
                <a:cubicBezTo>
                  <a:pt x="3430958" y="2155689"/>
                  <a:pt x="3344721" y="2147159"/>
                  <a:pt x="3258357" y="2139519"/>
                </a:cubicBezTo>
                <a:cubicBezTo>
                  <a:pt x="3206031" y="2134809"/>
                  <a:pt x="3153705" y="2131371"/>
                  <a:pt x="3101506" y="2126787"/>
                </a:cubicBezTo>
                <a:cubicBezTo>
                  <a:pt x="3004220" y="2117365"/>
                  <a:pt x="2907061" y="2106798"/>
                  <a:pt x="2809395" y="2097502"/>
                </a:cubicBezTo>
                <a:cubicBezTo>
                  <a:pt x="2739161" y="2090628"/>
                  <a:pt x="2668673" y="2085916"/>
                  <a:pt x="2598566" y="2078532"/>
                </a:cubicBezTo>
                <a:cubicBezTo>
                  <a:pt x="2511441" y="2069365"/>
                  <a:pt x="2424569" y="2058160"/>
                  <a:pt x="2337444" y="2048611"/>
                </a:cubicBezTo>
                <a:cubicBezTo>
                  <a:pt x="2255399" y="2039699"/>
                  <a:pt x="2173099" y="2032950"/>
                  <a:pt x="2091054" y="2023146"/>
                </a:cubicBezTo>
                <a:cubicBezTo>
                  <a:pt x="1979162" y="2010414"/>
                  <a:pt x="1867524" y="1995008"/>
                  <a:pt x="1755761" y="1981384"/>
                </a:cubicBezTo>
                <a:cubicBezTo>
                  <a:pt x="1650982" y="1968652"/>
                  <a:pt x="1545821" y="1957830"/>
                  <a:pt x="1441169" y="1943824"/>
                </a:cubicBezTo>
                <a:cubicBezTo>
                  <a:pt x="1299813" y="1924980"/>
                  <a:pt x="1158837" y="1903718"/>
                  <a:pt x="1017607" y="1883345"/>
                </a:cubicBezTo>
                <a:cubicBezTo>
                  <a:pt x="876378" y="1862974"/>
                  <a:pt x="735402" y="1844003"/>
                  <a:pt x="594427" y="1821849"/>
                </a:cubicBezTo>
                <a:cubicBezTo>
                  <a:pt x="462850" y="1801222"/>
                  <a:pt x="331526" y="1778304"/>
                  <a:pt x="200711" y="1755132"/>
                </a:cubicBezTo>
                <a:lnTo>
                  <a:pt x="0" y="1718743"/>
                </a:lnTo>
                <a:close/>
              </a:path>
            </a:pathLst>
          </a:custGeom>
          <a:solidFill>
            <a:schemeClr val="accent2"/>
          </a:solidFill>
          <a:ln w="81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55D0AB6-2E9F-40DC-AE5E-95029B2B4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221"/>
            <a:ext cx="10515600" cy="1348065"/>
          </a:xfrm>
        </p:spPr>
        <p:txBody>
          <a:bodyPr>
            <a:normAutofit/>
          </a:bodyPr>
          <a:lstStyle/>
          <a:p>
            <a:r>
              <a:rPr lang="fr-FR" sz="5400">
                <a:solidFill>
                  <a:srgbClr val="FFFFFF"/>
                </a:solidFill>
              </a:rPr>
              <a:t>Catégories d’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446EB7-E210-43B1-9FEF-9EBC83FC52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0" y="2586789"/>
            <a:ext cx="11877260" cy="3590174"/>
          </a:xfrm>
        </p:spPr>
        <p:txBody>
          <a:bodyPr>
            <a:normAutofit/>
          </a:bodyPr>
          <a:lstStyle/>
          <a:p>
            <a:pPr algn="just"/>
            <a:r>
              <a:rPr lang="fr-FR" sz="3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e annuité d'amortissement correspond au montant de l’amortissement pratiqué sur une immobilisation pour </a:t>
            </a:r>
            <a:r>
              <a:rPr lang="fr-FR" sz="3200" b="1" dirty="0">
                <a:solidFill>
                  <a:srgbClr val="FF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 exercice.</a:t>
            </a:r>
            <a:r>
              <a:rPr lang="fr-FR" sz="32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fr-FR" sz="2200" dirty="0"/>
          </a:p>
        </p:txBody>
      </p:sp>
    </p:spTree>
    <p:extLst>
      <p:ext uri="{BB962C8B-B14F-4D97-AF65-F5344CB8AC3E}">
        <p14:creationId xmlns:p14="http://schemas.microsoft.com/office/powerpoint/2010/main" val="39538868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Modèle 3D de formes en anneau connecté par des lignes">
            <a:extLst>
              <a:ext uri="{FF2B5EF4-FFF2-40B4-BE49-F238E27FC236}">
                <a16:creationId xmlns:a16="http://schemas.microsoft.com/office/drawing/2014/main" id="{A9628A4C-9EB8-435C-93AE-2A98D3C90F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>
                <a:solidFill>
                  <a:srgbClr val="FFFFFF"/>
                </a:solidFill>
              </a:rPr>
              <a:t>Vocabulaire</a:t>
            </a:r>
          </a:p>
        </p:txBody>
      </p:sp>
    </p:spTree>
    <p:extLst>
      <p:ext uri="{BB962C8B-B14F-4D97-AF65-F5344CB8AC3E}">
        <p14:creationId xmlns:p14="http://schemas.microsoft.com/office/powerpoint/2010/main" val="413479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22F9423-F4B1-45D4-8445-E9991ECCBC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42D5F6-0AFB-44FC-8526-BA5666B83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897" y="518649"/>
            <a:ext cx="9882278" cy="1067634"/>
          </a:xfrm>
        </p:spPr>
        <p:txBody>
          <a:bodyPr anchor="ctr">
            <a:normAutofit/>
          </a:bodyPr>
          <a:lstStyle/>
          <a:p>
            <a:r>
              <a:rPr lang="fr-FR" dirty="0"/>
              <a:t>La valeur nette comptable =&gt; VNC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0AE191-D2EA-45C9-A44D-830C188F74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72021" y="628863"/>
            <a:ext cx="1128382" cy="847206"/>
            <a:chOff x="8183879" y="1000124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3A0E4C1-B7A6-4637-AC51-4A5AE3841F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183879" y="1348782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F4E8C039-CC58-44F3-8A7B-E0A934C1D01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983979" y="1000124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tx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8308088B-60F7-43B0-9D2A-CA94DA0222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5452182"/>
              </p:ext>
            </p:extLst>
          </p:nvPr>
        </p:nvGraphicFramePr>
        <p:xfrm>
          <a:off x="1356376" y="2104738"/>
          <a:ext cx="9454447" cy="3606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4447">
                  <a:extLst>
                    <a:ext uri="{9D8B030D-6E8A-4147-A177-3AD203B41FA5}">
                      <a16:colId xmlns:a16="http://schemas.microsoft.com/office/drawing/2014/main" val="2650800668"/>
                    </a:ext>
                  </a:extLst>
                </a:gridCol>
              </a:tblGrid>
              <a:tr h="3060628">
                <a:tc>
                  <a:txBody>
                    <a:bodyPr/>
                    <a:lstStyle/>
                    <a:p>
                      <a:pPr algn="just"/>
                      <a:r>
                        <a:rPr lang="fr-FR" sz="3300">
                          <a:effectLst/>
                        </a:rPr>
                        <a:t>   Valeur d’entrée de l’immobilisation (</a:t>
                      </a:r>
                      <a:r>
                        <a:rPr lang="fr-FR" sz="3300" err="1">
                          <a:effectLst/>
                        </a:rPr>
                        <a:t>cf</a:t>
                      </a:r>
                      <a:r>
                        <a:rPr lang="fr-FR" sz="3300">
                          <a:effectLst/>
                        </a:rPr>
                        <a:t> section 1 - D)</a:t>
                      </a:r>
                    </a:p>
                    <a:p>
                      <a:pPr algn="just"/>
                      <a:r>
                        <a:rPr lang="fr-FR" sz="3300">
                          <a:effectLst/>
                        </a:rPr>
                        <a:t>  </a:t>
                      </a:r>
                    </a:p>
                    <a:p>
                      <a:pPr marL="90170" indent="-90170" algn="just"/>
                      <a:r>
                        <a:rPr lang="fr-FR" sz="3300">
                          <a:effectLst/>
                        </a:rPr>
                        <a:t>- Total des amortissements comptables pratiqués depuis l’entrée du bien à l’actif jusqu'à la date de calcul de la V.N.C (1)</a:t>
                      </a:r>
                    </a:p>
                  </a:txBody>
                  <a:tcPr marL="52388" marR="52388" marT="0" marB="0"/>
                </a:tc>
                <a:extLst>
                  <a:ext uri="{0D108BD9-81ED-4DB2-BD59-A6C34878D82A}">
                    <a16:rowId xmlns:a16="http://schemas.microsoft.com/office/drawing/2014/main" val="1821310303"/>
                  </a:ext>
                </a:extLst>
              </a:tr>
              <a:tr h="546028">
                <a:tc>
                  <a:txBody>
                    <a:bodyPr/>
                    <a:lstStyle/>
                    <a:p>
                      <a:pPr algn="l"/>
                      <a:r>
                        <a:rPr lang="fr-FR" sz="3300">
                          <a:effectLst/>
                        </a:rPr>
                        <a:t>= V.N.C</a:t>
                      </a:r>
                      <a:endParaRPr lang="fr-FR" sz="33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88" marR="52388" marT="0" marB="0" anchor="ctr"/>
                </a:tc>
                <a:extLst>
                  <a:ext uri="{0D108BD9-81ED-4DB2-BD59-A6C34878D82A}">
                    <a16:rowId xmlns:a16="http://schemas.microsoft.com/office/drawing/2014/main" val="40655536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58859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166C6D1-23AC-49C4-BA07-238E4E9F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7200" y="461737"/>
            <a:ext cx="2149361" cy="1870055"/>
          </a:xfrm>
          <a:prstGeom prst="rect">
            <a:avLst/>
          </a:prstGeom>
          <a:solidFill>
            <a:schemeClr val="accent5">
              <a:alpha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75CD93-9DF2-48CB-9F57-1BCA9A46C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752604" y="453981"/>
            <a:ext cx="6675120" cy="1877811"/>
          </a:xfrm>
          <a:prstGeom prst="rect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42D5F6-0AFB-44FC-8526-BA5666B83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5213" y="731520"/>
            <a:ext cx="6089904" cy="1426464"/>
          </a:xfrm>
        </p:spPr>
        <p:txBody>
          <a:bodyPr>
            <a:normAutofit/>
          </a:bodyPr>
          <a:lstStyle/>
          <a:p>
            <a:pPr algn="ctr"/>
            <a:r>
              <a:rPr lang="fr-FR" sz="3700" dirty="0">
                <a:solidFill>
                  <a:srgbClr val="FFFFFF"/>
                </a:solidFill>
              </a:rPr>
              <a:t>La valeur comptable des éléments actifs cédés=&gt; VCEA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186B68C-84BC-4A6E-99D1-EE87483C1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573768" y="453155"/>
            <a:ext cx="2149358" cy="1878638"/>
          </a:xfrm>
          <a:prstGeom prst="rect">
            <a:avLst/>
          </a:prstGeom>
          <a:solidFill>
            <a:srgbClr val="A5A5A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091803-41C2-48E0-9228-5148460C74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8920" y="2480956"/>
            <a:ext cx="11264206" cy="3918122"/>
          </a:xfrm>
          <a:prstGeom prst="rect">
            <a:avLst/>
          </a:prstGeom>
          <a:solidFill>
            <a:schemeClr val="tx1">
              <a:lumMod val="50000"/>
              <a:lumOff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Espace réservé du contenu 5">
            <a:extLst>
              <a:ext uri="{FF2B5EF4-FFF2-40B4-BE49-F238E27FC236}">
                <a16:creationId xmlns:a16="http://schemas.microsoft.com/office/drawing/2014/main" id="{3CACB960-77B0-4BE9-9BB2-4AB65CF80FE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626883"/>
              </p:ext>
            </p:extLst>
          </p:nvPr>
        </p:nvGraphicFramePr>
        <p:xfrm>
          <a:off x="788988" y="3135582"/>
          <a:ext cx="10598150" cy="2609312"/>
        </p:xfrm>
        <a:graphic>
          <a:graphicData uri="http://schemas.openxmlformats.org/drawingml/2006/table">
            <a:tbl>
              <a:tblPr firstRow="1" bandRow="1"/>
              <a:tblGrid>
                <a:gridCol w="10598150">
                  <a:extLst>
                    <a:ext uri="{9D8B030D-6E8A-4147-A177-3AD203B41FA5}">
                      <a16:colId xmlns:a16="http://schemas.microsoft.com/office/drawing/2014/main" val="2031640823"/>
                    </a:ext>
                  </a:extLst>
                </a:gridCol>
              </a:tblGrid>
              <a:tr h="2140974">
                <a:tc>
                  <a:txBody>
                    <a:bodyPr/>
                    <a:lstStyle/>
                    <a:p>
                      <a:pPr algn="just"/>
                      <a:r>
                        <a:rPr lang="fr-FR" sz="2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Valeur d’entrée de l’immobilisation (</a:t>
                      </a:r>
                      <a:r>
                        <a:rPr lang="fr-FR" sz="2700" err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f</a:t>
                      </a:r>
                      <a:r>
                        <a:rPr lang="fr-FR" sz="2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ection 1 - D)</a:t>
                      </a:r>
                    </a:p>
                    <a:p>
                      <a:pPr algn="just"/>
                      <a:r>
                        <a:rPr lang="fr-FR" sz="2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 marL="90170" indent="-90170" algn="just"/>
                      <a:r>
                        <a:rPr lang="fr-FR" sz="27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Total des amortissements économiquement justifiés (comptables) pratiqués depuis l’entrée du bien à l’actif jusqu'à la date de calcul de la V.C.E.A.C</a:t>
                      </a:r>
                    </a:p>
                  </a:txBody>
                  <a:tcPr marL="60982" marR="609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431698"/>
                  </a:ext>
                </a:extLst>
              </a:tr>
              <a:tr h="468338">
                <a:tc>
                  <a:txBody>
                    <a:bodyPr/>
                    <a:lstStyle/>
                    <a:p>
                      <a:pPr algn="l"/>
                      <a:r>
                        <a:rPr lang="fr-FR" sz="27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= V.C.E.A.C</a:t>
                      </a:r>
                      <a:endParaRPr lang="fr-FR" sz="27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982" marR="609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1109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1546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55E506-6883-4D93-BE20-543C65507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3363" y="365760"/>
            <a:ext cx="9367203" cy="1188720"/>
          </a:xfrm>
        </p:spPr>
        <p:txBody>
          <a:bodyPr>
            <a:normAutofit/>
          </a:bodyPr>
          <a:lstStyle/>
          <a:p>
            <a:r>
              <a:rPr lang="fr-FR" dirty="0"/>
              <a:t>Cas RRR - </a:t>
            </a:r>
            <a:r>
              <a:rPr lang="fr-FR" dirty="0" err="1"/>
              <a:t>enoncé</a:t>
            </a:r>
            <a:endParaRPr lang="fr-FR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CB4857B-ED7C-444D-9F04-2F885114A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764099" cy="1558212"/>
          </a:xfrm>
          <a:custGeom>
            <a:avLst/>
            <a:gdLst>
              <a:gd name="connsiteX0" fmla="*/ 0 w 1764099"/>
              <a:gd name="connsiteY0" fmla="*/ 0 h 1558212"/>
              <a:gd name="connsiteX1" fmla="*/ 1764099 w 1764099"/>
              <a:gd name="connsiteY1" fmla="*/ 0 h 1558212"/>
              <a:gd name="connsiteX2" fmla="*/ 1042087 w 1764099"/>
              <a:gd name="connsiteY2" fmla="*/ 1558212 h 1558212"/>
              <a:gd name="connsiteX3" fmla="*/ 0 w 1764099"/>
              <a:gd name="connsiteY3" fmla="*/ 1558212 h 1558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99" h="1558212">
                <a:moveTo>
                  <a:pt x="0" y="0"/>
                </a:moveTo>
                <a:lnTo>
                  <a:pt x="1764099" y="0"/>
                </a:lnTo>
                <a:lnTo>
                  <a:pt x="1042087" y="1558212"/>
                </a:lnTo>
                <a:lnTo>
                  <a:pt x="0" y="155821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8046FB-44EA-4FD8-A585-EA09A319B2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691640"/>
            <a:ext cx="12191999" cy="5166360"/>
          </a:xfrm>
          <a:custGeom>
            <a:avLst/>
            <a:gdLst>
              <a:gd name="connsiteX0" fmla="*/ 0 w 12191999"/>
              <a:gd name="connsiteY0" fmla="*/ 0 h 5166360"/>
              <a:gd name="connsiteX1" fmla="*/ 1822388 w 12191999"/>
              <a:gd name="connsiteY1" fmla="*/ 0 h 5166360"/>
              <a:gd name="connsiteX2" fmla="*/ 6468290 w 12191999"/>
              <a:gd name="connsiteY2" fmla="*/ 0 h 5166360"/>
              <a:gd name="connsiteX3" fmla="*/ 7796394 w 12191999"/>
              <a:gd name="connsiteY3" fmla="*/ 0 h 5166360"/>
              <a:gd name="connsiteX4" fmla="*/ 8376834 w 12191999"/>
              <a:gd name="connsiteY4" fmla="*/ 0 h 5166360"/>
              <a:gd name="connsiteX5" fmla="*/ 9704938 w 12191999"/>
              <a:gd name="connsiteY5" fmla="*/ 0 h 5166360"/>
              <a:gd name="connsiteX6" fmla="*/ 9704938 w 12191999"/>
              <a:gd name="connsiteY6" fmla="*/ 2 h 5166360"/>
              <a:gd name="connsiteX7" fmla="*/ 10283456 w 12191999"/>
              <a:gd name="connsiteY7" fmla="*/ 2 h 5166360"/>
              <a:gd name="connsiteX8" fmla="*/ 10863897 w 12191999"/>
              <a:gd name="connsiteY8" fmla="*/ 2 h 5166360"/>
              <a:gd name="connsiteX9" fmla="*/ 12191999 w 12191999"/>
              <a:gd name="connsiteY9" fmla="*/ 2 h 5166360"/>
              <a:gd name="connsiteX10" fmla="*/ 12191999 w 12191999"/>
              <a:gd name="connsiteY10" fmla="*/ 5166360 h 5166360"/>
              <a:gd name="connsiteX11" fmla="*/ 0 w 12191999"/>
              <a:gd name="connsiteY11" fmla="*/ 5166360 h 5166360"/>
              <a:gd name="connsiteX12" fmla="*/ 0 w 12191999"/>
              <a:gd name="connsiteY12" fmla="*/ 2604436 h 5166360"/>
              <a:gd name="connsiteX13" fmla="*/ 862341 w 12191999"/>
              <a:gd name="connsiteY13" fmla="*/ 743371 h 5166360"/>
              <a:gd name="connsiteX14" fmla="*/ 0 w 12191999"/>
              <a:gd name="connsiteY14" fmla="*/ 743371 h 5166360"/>
              <a:gd name="connsiteX15" fmla="*/ 0 w 12191999"/>
              <a:gd name="connsiteY15" fmla="*/ 742508 h 5166360"/>
              <a:gd name="connsiteX16" fmla="*/ 92826 w 12191999"/>
              <a:gd name="connsiteY16" fmla="*/ 742508 h 5166360"/>
              <a:gd name="connsiteX17" fmla="*/ 406486 w 12191999"/>
              <a:gd name="connsiteY17" fmla="*/ 742508 h 5166360"/>
              <a:gd name="connsiteX18" fmla="*/ 406486 w 12191999"/>
              <a:gd name="connsiteY18" fmla="*/ 742507 h 5166360"/>
              <a:gd name="connsiteX19" fmla="*/ 862741 w 12191999"/>
              <a:gd name="connsiteY19" fmla="*/ 742507 h 5166360"/>
              <a:gd name="connsiteX20" fmla="*/ 1206388 w 12191999"/>
              <a:gd name="connsiteY20" fmla="*/ 864 h 5166360"/>
              <a:gd name="connsiteX21" fmla="*/ 748500 w 12191999"/>
              <a:gd name="connsiteY21" fmla="*/ 864 h 5166360"/>
              <a:gd name="connsiteX22" fmla="*/ 0 w 12191999"/>
              <a:gd name="connsiteY22" fmla="*/ 864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1999" h="5166360">
                <a:moveTo>
                  <a:pt x="0" y="0"/>
                </a:moveTo>
                <a:lnTo>
                  <a:pt x="1822388" y="0"/>
                </a:lnTo>
                <a:lnTo>
                  <a:pt x="6468290" y="0"/>
                </a:lnTo>
                <a:lnTo>
                  <a:pt x="7796394" y="0"/>
                </a:lnTo>
                <a:lnTo>
                  <a:pt x="8376834" y="0"/>
                </a:lnTo>
                <a:lnTo>
                  <a:pt x="9704938" y="0"/>
                </a:lnTo>
                <a:lnTo>
                  <a:pt x="9704938" y="2"/>
                </a:lnTo>
                <a:lnTo>
                  <a:pt x="10283456" y="2"/>
                </a:lnTo>
                <a:lnTo>
                  <a:pt x="10863897" y="2"/>
                </a:lnTo>
                <a:lnTo>
                  <a:pt x="12191999" y="2"/>
                </a:lnTo>
                <a:lnTo>
                  <a:pt x="12191999" y="5166360"/>
                </a:lnTo>
                <a:lnTo>
                  <a:pt x="0" y="5166360"/>
                </a:lnTo>
                <a:lnTo>
                  <a:pt x="0" y="2604436"/>
                </a:lnTo>
                <a:lnTo>
                  <a:pt x="862341" y="743371"/>
                </a:lnTo>
                <a:lnTo>
                  <a:pt x="0" y="743371"/>
                </a:lnTo>
                <a:lnTo>
                  <a:pt x="0" y="742508"/>
                </a:lnTo>
                <a:lnTo>
                  <a:pt x="92826" y="742508"/>
                </a:lnTo>
                <a:lnTo>
                  <a:pt x="406486" y="742508"/>
                </a:lnTo>
                <a:lnTo>
                  <a:pt x="406486" y="742507"/>
                </a:lnTo>
                <a:lnTo>
                  <a:pt x="862741" y="742507"/>
                </a:lnTo>
                <a:lnTo>
                  <a:pt x="1206388" y="864"/>
                </a:lnTo>
                <a:lnTo>
                  <a:pt x="748500" y="864"/>
                </a:lnTo>
                <a:lnTo>
                  <a:pt x="0" y="864"/>
                </a:lnTo>
                <a:close/>
              </a:path>
            </a:pathLst>
          </a:custGeom>
          <a:solidFill>
            <a:srgbClr val="A6A6A6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9F5F2B-8B58-4140-AE6A-51F6C67B1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91641"/>
            <a:ext cx="971654" cy="2096979"/>
          </a:xfrm>
          <a:custGeom>
            <a:avLst/>
            <a:gdLst>
              <a:gd name="connsiteX0" fmla="*/ 0 w 971654"/>
              <a:gd name="connsiteY0" fmla="*/ 0 h 2096979"/>
              <a:gd name="connsiteX1" fmla="*/ 971654 w 971654"/>
              <a:gd name="connsiteY1" fmla="*/ 0 h 2096979"/>
              <a:gd name="connsiteX2" fmla="*/ 0 w 971654"/>
              <a:gd name="connsiteY2" fmla="*/ 2096979 h 2096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1654" h="2096979">
                <a:moveTo>
                  <a:pt x="0" y="0"/>
                </a:moveTo>
                <a:lnTo>
                  <a:pt x="971654" y="0"/>
                </a:lnTo>
                <a:lnTo>
                  <a:pt x="0" y="2096979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D20E0C6-6DD4-4F19-B694-322A4FE369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2524" y="1838325"/>
            <a:ext cx="11039475" cy="4905375"/>
          </a:xfrm>
        </p:spPr>
        <p:txBody>
          <a:bodyPr anchor="t">
            <a:noAutofit/>
          </a:bodyPr>
          <a:lstStyle/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	- </a:t>
            </a:r>
            <a:r>
              <a:rPr lang="fr-FR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4/01</a:t>
            </a:r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: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chat chez le fournisseur SAINTLOUP de 45 cartons de 12 bouteilles identiques pour un montant global avant remise de 4 950 € H.T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mise 15 %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.V.A au taux normal, facture 20F15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10 % par chèque, le restant à crédit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/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- </a:t>
            </a:r>
            <a:r>
              <a:rPr lang="fr-FR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19/01</a:t>
            </a:r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: 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tour de 216 bouteilles concernant l'achat du 4 janvier. Avoir 20A60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/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- </a:t>
            </a:r>
            <a:r>
              <a:rPr lang="fr-FR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23/01</a:t>
            </a:r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: 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Le fournisseur SAINTLOUP nous notifie par téléphone que nous bénéficions d’un rabais exceptionnel de 20 % sur le montant brut des marchandises conservées. Il prépare l’avoir ce jour.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- </a:t>
            </a:r>
            <a:r>
              <a:rPr lang="fr-FR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24/01</a:t>
            </a:r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: 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Réception de l'avoir correspondant 20A75.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- </a:t>
            </a:r>
            <a:r>
              <a:rPr lang="fr-FR" sz="1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 28/02</a:t>
            </a:r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: 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Paiement du solde dû au fournisseur SAINTLOUP par virement</a:t>
            </a:r>
            <a:endParaRPr lang="fr-FR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9100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C61293E-6EBE-43EF-A52C-9BEBFD767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9870F72-8149-444B-B043-4676BF76B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7762" y="329184"/>
            <a:ext cx="6251110" cy="1783080"/>
          </a:xfrm>
        </p:spPr>
        <p:txBody>
          <a:bodyPr anchor="b">
            <a:normAutofit/>
          </a:bodyPr>
          <a:lstStyle/>
          <a:p>
            <a:r>
              <a:rPr lang="fr-FR" sz="5400"/>
              <a:t>Le taux d’amortissement</a:t>
            </a:r>
          </a:p>
        </p:txBody>
      </p:sp>
      <p:pic>
        <p:nvPicPr>
          <p:cNvPr id="6" name="Picture 5" descr="Pièces de jeu de morpion métalliques ">
            <a:extLst>
              <a:ext uri="{FF2B5EF4-FFF2-40B4-BE49-F238E27FC236}">
                <a16:creationId xmlns:a16="http://schemas.microsoft.com/office/drawing/2014/main" id="{8301769A-1886-4032-BCC1-193CFF523D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65" r="31302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sketchy line">
            <a:extLst>
              <a:ext uri="{FF2B5EF4-FFF2-40B4-BE49-F238E27FC236}">
                <a16:creationId xmlns:a16="http://schemas.microsoft.com/office/drawing/2014/main" id="{21540236-BFD5-4A9D-8840-4703E7F768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97762" y="237494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C941D5F-41FA-425D-929C-99356FD83A1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657345" y="2706624"/>
            <a:ext cx="7420355" cy="34838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fr-FR" altLang="fr-FR" sz="2200" b="0" i="0" u="none" strike="noStrike" cap="none" normalizeH="0" baseline="0" dirty="0">
                <a:ln>
                  <a:noFill/>
                </a:ln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’est le pourcentage qui, appliqué à la valeur d’entrée (ou à la V.N.C selon le cas), permettra de déterminer</a:t>
            </a:r>
          </a:p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fr-FR" altLang="fr-FR" sz="2200" b="0" i="0" u="none" strike="noStrike" cap="none" normalizeH="0" baseline="0" dirty="0">
                <a:ln>
                  <a:noFill/>
                </a:ln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fr-FR" altLang="fr-FR" sz="2200" b="1" i="0" u="none" strike="noStrike" cap="none" normalizeH="0" baseline="0" dirty="0">
                <a:ln>
                  <a:noFill/>
                </a:ln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montant de l’annuité de l’amortissement </a:t>
            </a:r>
            <a:r>
              <a:rPr kumimoji="0" lang="fr-FR" altLang="fr-FR" sz="2200" b="0" i="0" u="none" strike="noStrike" cap="none" normalizeH="0" baseline="0" dirty="0">
                <a:ln>
                  <a:noFill/>
                </a:ln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économiquement justifié ou fiscalement autorisé).</a:t>
            </a:r>
          </a:p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lang="fr-FR" altLang="fr-FR" sz="2200" dirty="0">
              <a:latin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9540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19B23E5-D825-4652-9964-7669849F4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sz="5400"/>
              <a:t>La valeur résiduelle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E8E-9F31-4476-A954-73266A937D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251960"/>
          </a:xfrm>
        </p:spPr>
        <p:txBody>
          <a:bodyPr>
            <a:normAutofit/>
          </a:bodyPr>
          <a:lstStyle/>
          <a:p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valeur résiduelle est le montant, net des coûts de sortie attendus, qu'une entité obtiendrait de la cession de l'actif sur le marché, </a:t>
            </a:r>
            <a:r>
              <a:rPr lang="fr-FR" sz="22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à la fin de son utilisation</a:t>
            </a:r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l s'agit donc de </a:t>
            </a:r>
            <a:r>
              <a:rPr lang="fr-FR" sz="22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'estimation de la valeur de vente</a:t>
            </a:r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 l'immobilisation </a:t>
            </a:r>
            <a:r>
              <a:rPr lang="fr-FR" sz="2200" b="1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à la fin de la période d'utilisation </a:t>
            </a:r>
            <a:r>
              <a:rPr lang="fr-FR" sz="220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nette des frais nécessaires pour aboutir à la cession).</a:t>
            </a:r>
          </a:p>
          <a:p>
            <a:endParaRPr lang="fr-FR" sz="2200"/>
          </a:p>
        </p:txBody>
      </p:sp>
    </p:spTree>
    <p:extLst>
      <p:ext uri="{BB962C8B-B14F-4D97-AF65-F5344CB8AC3E}">
        <p14:creationId xmlns:p14="http://schemas.microsoft.com/office/powerpoint/2010/main" val="9243497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B867FF-FC45-48F7-8104-F89BE5490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BB56887-D0D5-4F0C-9E19-7247EB83C8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208695" y="1"/>
            <a:ext cx="1135066" cy="477997"/>
          </a:xfrm>
          <a:custGeom>
            <a:avLst/>
            <a:gdLst>
              <a:gd name="connsiteX0" fmla="*/ 0 w 1135066"/>
              <a:gd name="connsiteY0" fmla="*/ 0 h 477997"/>
              <a:gd name="connsiteX1" fmla="*/ 1135066 w 1135066"/>
              <a:gd name="connsiteY1" fmla="*/ 0 h 477997"/>
              <a:gd name="connsiteX2" fmla="*/ 1133370 w 1135066"/>
              <a:gd name="connsiteY2" fmla="*/ 16827 h 477997"/>
              <a:gd name="connsiteX3" fmla="*/ 567533 w 1135066"/>
              <a:gd name="connsiteY3" fmla="*/ 477997 h 477997"/>
              <a:gd name="connsiteX4" fmla="*/ 1696 w 1135066"/>
              <a:gd name="connsiteY4" fmla="*/ 16827 h 47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5066" h="477997">
                <a:moveTo>
                  <a:pt x="0" y="0"/>
                </a:moveTo>
                <a:lnTo>
                  <a:pt x="1135066" y="0"/>
                </a:lnTo>
                <a:lnTo>
                  <a:pt x="1133370" y="16827"/>
                </a:lnTo>
                <a:cubicBezTo>
                  <a:pt x="1079514" y="280016"/>
                  <a:pt x="846644" y="477997"/>
                  <a:pt x="567533" y="477997"/>
                </a:cubicBezTo>
                <a:cubicBezTo>
                  <a:pt x="288422" y="477997"/>
                  <a:pt x="55552" y="280016"/>
                  <a:pt x="1696" y="1682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19B23E5-D825-4652-9964-7669849F4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fr-FR" dirty="0"/>
              <a:t>La valeur vénale</a:t>
            </a: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V="1">
            <a:off x="555710" y="2183223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E8E-9F31-4476-A954-73266A937D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 valeur vénale est le montant qui </a:t>
            </a:r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rait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être obtenu, </a:t>
            </a:r>
            <a:r>
              <a:rPr lang="fr-FR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à la date de clôture de l'exercice</a:t>
            </a:r>
            <a:r>
              <a:rPr lang="fr-FR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de la vente d'un actif lors d'une transaction conclue à des conditions normales de marché, net des coûts de sortie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58577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4F0E29-078B-4332-A192-DD74EA0A0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urée amortiss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EC49F0B-85B3-42AF-A36B-BAB73C3095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ec l'amortissement constant, l'entreprise considère que l’immobilisation se déprécie d’une manière constante dans le temps.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nc, l'entreprise doit définir, lors de l'achat, la </a:t>
            </a:r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d'utilisation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 l'immobilisation pour connaître sa dépréciation annuelle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just"/>
            <a:r>
              <a:rPr lang="fr-FR" sz="1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emples "classiques" de durée d'utilisation</a:t>
            </a:r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- Construction : entre 10 et 25 ans selon la nature (bureaux, hangars …).</a:t>
            </a:r>
          </a:p>
          <a:p>
            <a:pPr indent="449580"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Véhicule de tourisme de société : 5 ans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Matériel : entre 5 et 10 ans.</a:t>
            </a:r>
          </a:p>
          <a:p>
            <a:pPr algn="just"/>
            <a:r>
              <a:rPr lang="fr-FR" sz="18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	- Agencement : entre 5 et 10 ans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21435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FDF166-4625-42C0-BEA4-E1440D675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aux linéaire</a:t>
            </a: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1AB51F4B-15F3-41C6-94E6-2484E61847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19743" y="2038349"/>
            <a:ext cx="11134645" cy="325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60988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575C10-8187-4AC4-AD72-C754EAFD28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65429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2E8ADB1-B7C1-4B39-813B-0BDD34F5B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59678"/>
            <a:ext cx="3567915" cy="4952492"/>
          </a:xfrm>
        </p:spPr>
        <p:txBody>
          <a:bodyPr>
            <a:normAutofit/>
          </a:bodyPr>
          <a:lstStyle/>
          <a:p>
            <a:r>
              <a:rPr lang="fr-FR">
                <a:solidFill>
                  <a:schemeClr val="bg1"/>
                </a:solidFill>
              </a:rPr>
              <a:t>Exemp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E776C9-ED67-41B7-B3A3-4DF76EF3AC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99730"/>
            <a:ext cx="42976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6DFD2393-4D0C-41E4-8C83-15525D62C1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6148980"/>
              </p:ext>
            </p:extLst>
          </p:nvPr>
        </p:nvGraphicFramePr>
        <p:xfrm>
          <a:off x="5181600" y="568325"/>
          <a:ext cx="6248400" cy="5656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88042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AA6C58C-5954-4FA8-A56A-A377BC1EE8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50"/>
          <a:stretch/>
        </p:blipFill>
        <p:spPr>
          <a:xfrm>
            <a:off x="0" y="10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57D98BB-790E-4021-AA5D-57B016649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6619811" cy="1344975"/>
          </a:xfrm>
        </p:spPr>
        <p:txBody>
          <a:bodyPr>
            <a:normAutofit/>
          </a:bodyPr>
          <a:lstStyle/>
          <a:p>
            <a:r>
              <a:rPr lang="fr-FR" sz="4000"/>
              <a:t>Méthode</a:t>
            </a:r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617803DD-FD6B-4314-9E7E-DF622646281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4873838"/>
              </p:ext>
            </p:extLst>
          </p:nvPr>
        </p:nvGraphicFramePr>
        <p:xfrm>
          <a:off x="594803" y="1741714"/>
          <a:ext cx="6619811" cy="4153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182063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7D98BB-790E-4021-AA5D-57B016649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545" y="621792"/>
            <a:ext cx="3557155" cy="5504688"/>
          </a:xfrm>
        </p:spPr>
        <p:txBody>
          <a:bodyPr>
            <a:normAutofit/>
          </a:bodyPr>
          <a:lstStyle/>
          <a:p>
            <a:r>
              <a:rPr lang="fr-FR" sz="4800"/>
              <a:t>Méthode</a:t>
            </a:r>
          </a:p>
        </p:txBody>
      </p:sp>
      <p:graphicFrame>
        <p:nvGraphicFramePr>
          <p:cNvPr id="18" name="Espace réservé du contenu 2">
            <a:extLst>
              <a:ext uri="{FF2B5EF4-FFF2-40B4-BE49-F238E27FC236}">
                <a16:creationId xmlns:a16="http://schemas.microsoft.com/office/drawing/2014/main" id="{EE5B065A-99BA-4B71-944D-5481CED34B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606959"/>
              </p:ext>
            </p:extLst>
          </p:nvPr>
        </p:nvGraphicFramePr>
        <p:xfrm>
          <a:off x="4248150" y="621792"/>
          <a:ext cx="7108698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801137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7718681-A12E-49D6-9925-DD7C6817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D77573-9EF2-4C35-8285-A1CF6FBB0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5511704" cy="6858000"/>
          </a:xfrm>
          <a:custGeom>
            <a:avLst/>
            <a:gdLst>
              <a:gd name="connsiteX0" fmla="*/ 5511704 w 5511704"/>
              <a:gd name="connsiteY0" fmla="*/ 0 h 6886576"/>
              <a:gd name="connsiteX1" fmla="*/ 1008599 w 5511704"/>
              <a:gd name="connsiteY1" fmla="*/ 0 h 6886576"/>
              <a:gd name="connsiteX2" fmla="*/ 1310975 w 5511704"/>
              <a:gd name="connsiteY2" fmla="*/ 110728 h 6886576"/>
              <a:gd name="connsiteX3" fmla="*/ 1267362 w 5511704"/>
              <a:gd name="connsiteY3" fmla="*/ 135731 h 6886576"/>
              <a:gd name="connsiteX4" fmla="*/ 1005692 w 5511704"/>
              <a:gd name="connsiteY4" fmla="*/ 71437 h 6886576"/>
              <a:gd name="connsiteX5" fmla="*/ 953358 w 5511704"/>
              <a:gd name="connsiteY5" fmla="*/ 89297 h 6886576"/>
              <a:gd name="connsiteX6" fmla="*/ 979525 w 5511704"/>
              <a:gd name="connsiteY6" fmla="*/ 164307 h 6886576"/>
              <a:gd name="connsiteX7" fmla="*/ 1092915 w 5511704"/>
              <a:gd name="connsiteY7" fmla="*/ 192882 h 6886576"/>
              <a:gd name="connsiteX8" fmla="*/ 1270270 w 5511704"/>
              <a:gd name="connsiteY8" fmla="*/ 375047 h 6886576"/>
              <a:gd name="connsiteX9" fmla="*/ 1002784 w 5511704"/>
              <a:gd name="connsiteY9" fmla="*/ 353615 h 6886576"/>
              <a:gd name="connsiteX10" fmla="*/ 956265 w 5511704"/>
              <a:gd name="connsiteY10" fmla="*/ 396479 h 6886576"/>
              <a:gd name="connsiteX11" fmla="*/ 938820 w 5511704"/>
              <a:gd name="connsiteY11" fmla="*/ 453629 h 6886576"/>
              <a:gd name="connsiteX12" fmla="*/ 860319 w 5511704"/>
              <a:gd name="connsiteY12" fmla="*/ 360759 h 6886576"/>
              <a:gd name="connsiteX13" fmla="*/ 793447 w 5511704"/>
              <a:gd name="connsiteY13" fmla="*/ 335757 h 6886576"/>
              <a:gd name="connsiteX14" fmla="*/ 773095 w 5511704"/>
              <a:gd name="connsiteY14" fmla="*/ 417910 h 6886576"/>
              <a:gd name="connsiteX15" fmla="*/ 834151 w 5511704"/>
              <a:gd name="connsiteY15" fmla="*/ 507206 h 6886576"/>
              <a:gd name="connsiteX16" fmla="*/ 996969 w 5511704"/>
              <a:gd name="connsiteY16" fmla="*/ 560785 h 6886576"/>
              <a:gd name="connsiteX17" fmla="*/ 822522 w 5511704"/>
              <a:gd name="connsiteY17" fmla="*/ 560785 h 6886576"/>
              <a:gd name="connsiteX18" fmla="*/ 621908 w 5511704"/>
              <a:gd name="connsiteY18" fmla="*/ 525066 h 6886576"/>
              <a:gd name="connsiteX19" fmla="*/ 409664 w 5511704"/>
              <a:gd name="connsiteY19" fmla="*/ 535781 h 6886576"/>
              <a:gd name="connsiteX20" fmla="*/ 209049 w 5511704"/>
              <a:gd name="connsiteY20" fmla="*/ 464344 h 6886576"/>
              <a:gd name="connsiteX21" fmla="*/ 5527 w 5511704"/>
              <a:gd name="connsiteY21" fmla="*/ 467916 h 6886576"/>
              <a:gd name="connsiteX22" fmla="*/ 906838 w 5511704"/>
              <a:gd name="connsiteY22" fmla="*/ 914400 h 6886576"/>
              <a:gd name="connsiteX23" fmla="*/ 863226 w 5511704"/>
              <a:gd name="connsiteY23" fmla="*/ 925116 h 6886576"/>
              <a:gd name="connsiteX24" fmla="*/ 805077 w 5511704"/>
              <a:gd name="connsiteY24" fmla="*/ 953691 h 6886576"/>
              <a:gd name="connsiteX25" fmla="*/ 848689 w 5511704"/>
              <a:gd name="connsiteY25" fmla="*/ 1010841 h 6886576"/>
              <a:gd name="connsiteX26" fmla="*/ 1084193 w 5511704"/>
              <a:gd name="connsiteY26" fmla="*/ 1117997 h 6886576"/>
              <a:gd name="connsiteX27" fmla="*/ 1142342 w 5511704"/>
              <a:gd name="connsiteY27" fmla="*/ 1225153 h 6886576"/>
              <a:gd name="connsiteX28" fmla="*/ 1069655 w 5511704"/>
              <a:gd name="connsiteY28" fmla="*/ 1214438 h 6886576"/>
              <a:gd name="connsiteX29" fmla="*/ 1005692 w 5511704"/>
              <a:gd name="connsiteY29" fmla="*/ 1235869 h 6886576"/>
              <a:gd name="connsiteX30" fmla="*/ 1031858 w 5511704"/>
              <a:gd name="connsiteY30" fmla="*/ 1371600 h 6886576"/>
              <a:gd name="connsiteX31" fmla="*/ 1366216 w 5511704"/>
              <a:gd name="connsiteY31" fmla="*/ 1546622 h 6886576"/>
              <a:gd name="connsiteX32" fmla="*/ 1395290 w 5511704"/>
              <a:gd name="connsiteY32" fmla="*/ 1603772 h 6886576"/>
              <a:gd name="connsiteX33" fmla="*/ 1354586 w 5511704"/>
              <a:gd name="connsiteY33" fmla="*/ 1643063 h 6886576"/>
              <a:gd name="connsiteX34" fmla="*/ 1247011 w 5511704"/>
              <a:gd name="connsiteY34" fmla="*/ 1664494 h 6886576"/>
              <a:gd name="connsiteX35" fmla="*/ 1398198 w 5511704"/>
              <a:gd name="connsiteY35" fmla="*/ 1857375 h 6886576"/>
              <a:gd name="connsiteX36" fmla="*/ 1453440 w 5511704"/>
              <a:gd name="connsiteY36" fmla="*/ 1910954 h 6886576"/>
              <a:gd name="connsiteX37" fmla="*/ 1549386 w 5511704"/>
              <a:gd name="connsiteY37" fmla="*/ 1993106 h 6886576"/>
              <a:gd name="connsiteX38" fmla="*/ 1549386 w 5511704"/>
              <a:gd name="connsiteY38" fmla="*/ 2021681 h 6886576"/>
              <a:gd name="connsiteX39" fmla="*/ 1421458 w 5511704"/>
              <a:gd name="connsiteY39" fmla="*/ 2110978 h 6886576"/>
              <a:gd name="connsiteX40" fmla="*/ 1188861 w 5511704"/>
              <a:gd name="connsiteY40" fmla="*/ 2085976 h 6886576"/>
              <a:gd name="connsiteX41" fmla="*/ 1531941 w 5511704"/>
              <a:gd name="connsiteY41" fmla="*/ 2218135 h 6886576"/>
              <a:gd name="connsiteX42" fmla="*/ 421293 w 5511704"/>
              <a:gd name="connsiteY42" fmla="*/ 1900238 h 6886576"/>
              <a:gd name="connsiteX43" fmla="*/ 491072 w 5511704"/>
              <a:gd name="connsiteY43" fmla="*/ 1982391 h 6886576"/>
              <a:gd name="connsiteX44" fmla="*/ 880671 w 5511704"/>
              <a:gd name="connsiteY44" fmla="*/ 2200276 h 6886576"/>
              <a:gd name="connsiteX45" fmla="*/ 991154 w 5511704"/>
              <a:gd name="connsiteY45" fmla="*/ 2336007 h 6886576"/>
              <a:gd name="connsiteX46" fmla="*/ 1107453 w 5511704"/>
              <a:gd name="connsiteY46" fmla="*/ 2411016 h 6886576"/>
              <a:gd name="connsiteX47" fmla="*/ 1270270 w 5511704"/>
              <a:gd name="connsiteY47" fmla="*/ 2411016 h 6886576"/>
              <a:gd name="connsiteX48" fmla="*/ 1386568 w 5511704"/>
              <a:gd name="connsiteY48" fmla="*/ 2528889 h 6886576"/>
              <a:gd name="connsiteX49" fmla="*/ 1267362 w 5511704"/>
              <a:gd name="connsiteY49" fmla="*/ 2553891 h 6886576"/>
              <a:gd name="connsiteX50" fmla="*/ 1127805 w 5511704"/>
              <a:gd name="connsiteY50" fmla="*/ 2536032 h 6886576"/>
              <a:gd name="connsiteX51" fmla="*/ 970802 w 5511704"/>
              <a:gd name="connsiteY51" fmla="*/ 2575322 h 6886576"/>
              <a:gd name="connsiteX52" fmla="*/ 825429 w 5511704"/>
              <a:gd name="connsiteY52" fmla="*/ 2543176 h 6886576"/>
              <a:gd name="connsiteX53" fmla="*/ 650982 w 5511704"/>
              <a:gd name="connsiteY53" fmla="*/ 2564607 h 6886576"/>
              <a:gd name="connsiteX54" fmla="*/ 595740 w 5511704"/>
              <a:gd name="connsiteY54" fmla="*/ 2703909 h 6886576"/>
              <a:gd name="connsiteX55" fmla="*/ 578296 w 5511704"/>
              <a:gd name="connsiteY55" fmla="*/ 2714626 h 6886576"/>
              <a:gd name="connsiteX56" fmla="*/ 255568 w 5511704"/>
              <a:gd name="connsiteY56" fmla="*/ 2936081 h 6886576"/>
              <a:gd name="connsiteX57" fmla="*/ 165437 w 5511704"/>
              <a:gd name="connsiteY57" fmla="*/ 2953941 h 6886576"/>
              <a:gd name="connsiteX58" fmla="*/ 697501 w 5511704"/>
              <a:gd name="connsiteY58" fmla="*/ 3343275 h 6886576"/>
              <a:gd name="connsiteX59" fmla="*/ 339884 w 5511704"/>
              <a:gd name="connsiteY59" fmla="*/ 3243263 h 6886576"/>
              <a:gd name="connsiteX60" fmla="*/ 290458 w 5511704"/>
              <a:gd name="connsiteY60" fmla="*/ 3407569 h 6886576"/>
              <a:gd name="connsiteX61" fmla="*/ 459090 w 5511704"/>
              <a:gd name="connsiteY61" fmla="*/ 3554016 h 6886576"/>
              <a:gd name="connsiteX62" fmla="*/ 520147 w 5511704"/>
              <a:gd name="connsiteY62" fmla="*/ 3843338 h 6886576"/>
              <a:gd name="connsiteX63" fmla="*/ 491072 w 5511704"/>
              <a:gd name="connsiteY63" fmla="*/ 4107657 h 6886576"/>
              <a:gd name="connsiteX64" fmla="*/ 418386 w 5511704"/>
              <a:gd name="connsiteY64" fmla="*/ 4189810 h 6886576"/>
              <a:gd name="connsiteX65" fmla="*/ 313718 w 5511704"/>
              <a:gd name="connsiteY65" fmla="*/ 4339829 h 6886576"/>
              <a:gd name="connsiteX66" fmla="*/ 249753 w 5511704"/>
              <a:gd name="connsiteY66" fmla="*/ 4432698 h 6886576"/>
              <a:gd name="connsiteX67" fmla="*/ 25879 w 5511704"/>
              <a:gd name="connsiteY67" fmla="*/ 4396979 h 6886576"/>
              <a:gd name="connsiteX68" fmla="*/ 325347 w 5511704"/>
              <a:gd name="connsiteY68" fmla="*/ 4632722 h 6886576"/>
              <a:gd name="connsiteX69" fmla="*/ 84029 w 5511704"/>
              <a:gd name="connsiteY69" fmla="*/ 4604147 h 6886576"/>
              <a:gd name="connsiteX70" fmla="*/ 5527 w 5511704"/>
              <a:gd name="connsiteY70" fmla="*/ 4622007 h 6886576"/>
              <a:gd name="connsiteX71" fmla="*/ 49139 w 5511704"/>
              <a:gd name="connsiteY71" fmla="*/ 4697016 h 6886576"/>
              <a:gd name="connsiteX72" fmla="*/ 226494 w 5511704"/>
              <a:gd name="connsiteY72" fmla="*/ 4825604 h 6886576"/>
              <a:gd name="connsiteX73" fmla="*/ 592833 w 5511704"/>
              <a:gd name="connsiteY73" fmla="*/ 5175647 h 6886576"/>
              <a:gd name="connsiteX74" fmla="*/ 238123 w 5511704"/>
              <a:gd name="connsiteY74" fmla="*/ 5014913 h 6886576"/>
              <a:gd name="connsiteX75" fmla="*/ 610278 w 5511704"/>
              <a:gd name="connsiteY75" fmla="*/ 5375673 h 6886576"/>
              <a:gd name="connsiteX76" fmla="*/ 691686 w 5511704"/>
              <a:gd name="connsiteY76" fmla="*/ 5497116 h 6886576"/>
              <a:gd name="connsiteX77" fmla="*/ 860319 w 5511704"/>
              <a:gd name="connsiteY77" fmla="*/ 5793582 h 6886576"/>
              <a:gd name="connsiteX78" fmla="*/ 851597 w 5511704"/>
              <a:gd name="connsiteY78" fmla="*/ 5825729 h 6886576"/>
              <a:gd name="connsiteX79" fmla="*/ 659704 w 5511704"/>
              <a:gd name="connsiteY79" fmla="*/ 5779295 h 6886576"/>
              <a:gd name="connsiteX80" fmla="*/ 909746 w 5511704"/>
              <a:gd name="connsiteY80" fmla="*/ 6029326 h 6886576"/>
              <a:gd name="connsiteX81" fmla="*/ 1168509 w 5511704"/>
              <a:gd name="connsiteY81" fmla="*/ 6222207 h 6886576"/>
              <a:gd name="connsiteX82" fmla="*/ 985339 w 5511704"/>
              <a:gd name="connsiteY82" fmla="*/ 6193632 h 6886576"/>
              <a:gd name="connsiteX83" fmla="*/ 732391 w 5511704"/>
              <a:gd name="connsiteY83" fmla="*/ 6082904 h 6886576"/>
              <a:gd name="connsiteX84" fmla="*/ 645167 w 5511704"/>
              <a:gd name="connsiteY84" fmla="*/ 6125766 h 6886576"/>
              <a:gd name="connsiteX85" fmla="*/ 883579 w 5511704"/>
              <a:gd name="connsiteY85" fmla="*/ 6307932 h 6886576"/>
              <a:gd name="connsiteX86" fmla="*/ 1020229 w 5511704"/>
              <a:gd name="connsiteY86" fmla="*/ 6393657 h 6886576"/>
              <a:gd name="connsiteX87" fmla="*/ 1075471 w 5511704"/>
              <a:gd name="connsiteY87" fmla="*/ 6457950 h 6886576"/>
              <a:gd name="connsiteX88" fmla="*/ 1232473 w 5511704"/>
              <a:gd name="connsiteY88" fmla="*/ 6686551 h 6886576"/>
              <a:gd name="connsiteX89" fmla="*/ 1592997 w 5511704"/>
              <a:gd name="connsiteY89" fmla="*/ 6886576 h 6886576"/>
              <a:gd name="connsiteX90" fmla="*/ 5511704 w 5511704"/>
              <a:gd name="connsiteY90" fmla="*/ 6886576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5511704" h="6886576">
                <a:moveTo>
                  <a:pt x="5511704" y="0"/>
                </a:moveTo>
                <a:lnTo>
                  <a:pt x="1008599" y="0"/>
                </a:lnTo>
                <a:cubicBezTo>
                  <a:pt x="1110360" y="35719"/>
                  <a:pt x="1209214" y="78581"/>
                  <a:pt x="1310975" y="110728"/>
                </a:cubicBezTo>
                <a:cubicBezTo>
                  <a:pt x="1296437" y="146447"/>
                  <a:pt x="1281900" y="139303"/>
                  <a:pt x="1267362" y="135731"/>
                </a:cubicBezTo>
                <a:cubicBezTo>
                  <a:pt x="1180139" y="121445"/>
                  <a:pt x="1090008" y="110728"/>
                  <a:pt x="1005692" y="71437"/>
                </a:cubicBezTo>
                <a:cubicBezTo>
                  <a:pt x="985339" y="64294"/>
                  <a:pt x="962080" y="64294"/>
                  <a:pt x="953358" y="89297"/>
                </a:cubicBezTo>
                <a:cubicBezTo>
                  <a:pt x="938820" y="125016"/>
                  <a:pt x="959172" y="146447"/>
                  <a:pt x="979525" y="164307"/>
                </a:cubicBezTo>
                <a:cubicBezTo>
                  <a:pt x="1014414" y="196453"/>
                  <a:pt x="1055118" y="189310"/>
                  <a:pt x="1092915" y="192882"/>
                </a:cubicBezTo>
                <a:cubicBezTo>
                  <a:pt x="1197583" y="210741"/>
                  <a:pt x="1247011" y="260747"/>
                  <a:pt x="1270270" y="375047"/>
                </a:cubicBezTo>
                <a:cubicBezTo>
                  <a:pt x="1180139" y="328613"/>
                  <a:pt x="1090008" y="385763"/>
                  <a:pt x="1002784" y="353615"/>
                </a:cubicBezTo>
                <a:cubicBezTo>
                  <a:pt x="979525" y="346472"/>
                  <a:pt x="944635" y="357188"/>
                  <a:pt x="956265" y="396479"/>
                </a:cubicBezTo>
                <a:cubicBezTo>
                  <a:pt x="967894" y="432198"/>
                  <a:pt x="1005692" y="460772"/>
                  <a:pt x="938820" y="453629"/>
                </a:cubicBezTo>
                <a:cubicBezTo>
                  <a:pt x="889393" y="450056"/>
                  <a:pt x="874856" y="407194"/>
                  <a:pt x="860319" y="360759"/>
                </a:cubicBezTo>
                <a:cubicBezTo>
                  <a:pt x="848689" y="335757"/>
                  <a:pt x="816707" y="321469"/>
                  <a:pt x="793447" y="335757"/>
                </a:cubicBezTo>
                <a:cubicBezTo>
                  <a:pt x="764373" y="350044"/>
                  <a:pt x="773095" y="389335"/>
                  <a:pt x="773095" y="417910"/>
                </a:cubicBezTo>
                <a:cubicBezTo>
                  <a:pt x="770187" y="471488"/>
                  <a:pt x="793447" y="496491"/>
                  <a:pt x="834151" y="507206"/>
                </a:cubicBezTo>
                <a:cubicBezTo>
                  <a:pt x="883579" y="521494"/>
                  <a:pt x="933005" y="539354"/>
                  <a:pt x="996969" y="560785"/>
                </a:cubicBezTo>
                <a:cubicBezTo>
                  <a:pt x="927190" y="596503"/>
                  <a:pt x="874856" y="589360"/>
                  <a:pt x="822522" y="560785"/>
                </a:cubicBezTo>
                <a:cubicBezTo>
                  <a:pt x="758558" y="528637"/>
                  <a:pt x="674242" y="485775"/>
                  <a:pt x="621908" y="525066"/>
                </a:cubicBezTo>
                <a:cubicBezTo>
                  <a:pt x="543407" y="582216"/>
                  <a:pt x="479443" y="546497"/>
                  <a:pt x="409664" y="535781"/>
                </a:cubicBezTo>
                <a:cubicBezTo>
                  <a:pt x="264290" y="514350"/>
                  <a:pt x="354422" y="482204"/>
                  <a:pt x="209049" y="464344"/>
                </a:cubicBezTo>
                <a:cubicBezTo>
                  <a:pt x="150900" y="457200"/>
                  <a:pt x="89843" y="428625"/>
                  <a:pt x="5527" y="467916"/>
                </a:cubicBezTo>
                <a:cubicBezTo>
                  <a:pt x="386404" y="675085"/>
                  <a:pt x="566666" y="660797"/>
                  <a:pt x="906838" y="914400"/>
                </a:cubicBezTo>
                <a:cubicBezTo>
                  <a:pt x="892301" y="939404"/>
                  <a:pt x="877764" y="928688"/>
                  <a:pt x="863226" y="925116"/>
                </a:cubicBezTo>
                <a:cubicBezTo>
                  <a:pt x="839967" y="921544"/>
                  <a:pt x="810892" y="907256"/>
                  <a:pt x="805077" y="953691"/>
                </a:cubicBezTo>
                <a:cubicBezTo>
                  <a:pt x="802169" y="989410"/>
                  <a:pt x="819615" y="1007269"/>
                  <a:pt x="848689" y="1010841"/>
                </a:cubicBezTo>
                <a:cubicBezTo>
                  <a:pt x="933005" y="1025129"/>
                  <a:pt x="1008599" y="1075135"/>
                  <a:pt x="1084193" y="1117997"/>
                </a:cubicBezTo>
                <a:cubicBezTo>
                  <a:pt x="1119082" y="1135857"/>
                  <a:pt x="1156879" y="1160860"/>
                  <a:pt x="1142342" y="1225153"/>
                </a:cubicBezTo>
                <a:cubicBezTo>
                  <a:pt x="1113268" y="1243013"/>
                  <a:pt x="1092915" y="1218009"/>
                  <a:pt x="1069655" y="1214438"/>
                </a:cubicBezTo>
                <a:cubicBezTo>
                  <a:pt x="1046396" y="1210866"/>
                  <a:pt x="991154" y="1225153"/>
                  <a:pt x="1005692" y="1235869"/>
                </a:cubicBezTo>
                <a:cubicBezTo>
                  <a:pt x="1072563" y="1275159"/>
                  <a:pt x="950450" y="1371600"/>
                  <a:pt x="1031858" y="1371600"/>
                </a:cubicBezTo>
                <a:cubicBezTo>
                  <a:pt x="1165601" y="1371600"/>
                  <a:pt x="1238288" y="1543050"/>
                  <a:pt x="1366216" y="1546622"/>
                </a:cubicBezTo>
                <a:cubicBezTo>
                  <a:pt x="1386568" y="1546622"/>
                  <a:pt x="1395290" y="1578770"/>
                  <a:pt x="1395290" y="1603772"/>
                </a:cubicBezTo>
                <a:cubicBezTo>
                  <a:pt x="1395290" y="1635920"/>
                  <a:pt x="1374939" y="1639491"/>
                  <a:pt x="1354586" y="1643063"/>
                </a:cubicBezTo>
                <a:cubicBezTo>
                  <a:pt x="1322604" y="1646635"/>
                  <a:pt x="1287715" y="1603772"/>
                  <a:pt x="1247011" y="1664494"/>
                </a:cubicBezTo>
                <a:cubicBezTo>
                  <a:pt x="1322604" y="1700213"/>
                  <a:pt x="1401105" y="1735932"/>
                  <a:pt x="1398198" y="1857375"/>
                </a:cubicBezTo>
                <a:cubicBezTo>
                  <a:pt x="1398198" y="1889523"/>
                  <a:pt x="1430180" y="1903810"/>
                  <a:pt x="1453440" y="1910954"/>
                </a:cubicBezTo>
                <a:cubicBezTo>
                  <a:pt x="1494144" y="1925241"/>
                  <a:pt x="1526126" y="1946673"/>
                  <a:pt x="1549386" y="1993106"/>
                </a:cubicBezTo>
                <a:cubicBezTo>
                  <a:pt x="1549386" y="2003822"/>
                  <a:pt x="1549386" y="2010966"/>
                  <a:pt x="1549386" y="2021681"/>
                </a:cubicBezTo>
                <a:cubicBezTo>
                  <a:pt x="1543571" y="2132410"/>
                  <a:pt x="1485422" y="2128838"/>
                  <a:pt x="1421458" y="2110978"/>
                </a:cubicBezTo>
                <a:cubicBezTo>
                  <a:pt x="1345864" y="2089547"/>
                  <a:pt x="1270270" y="2046685"/>
                  <a:pt x="1188861" y="2085976"/>
                </a:cubicBezTo>
                <a:cubicBezTo>
                  <a:pt x="1302252" y="2139554"/>
                  <a:pt x="1427272" y="2143126"/>
                  <a:pt x="1531941" y="2218135"/>
                </a:cubicBezTo>
                <a:cubicBezTo>
                  <a:pt x="1142342" y="2232422"/>
                  <a:pt x="799262" y="1993106"/>
                  <a:pt x="421293" y="1900238"/>
                </a:cubicBezTo>
                <a:cubicBezTo>
                  <a:pt x="432923" y="1960960"/>
                  <a:pt x="464905" y="1975247"/>
                  <a:pt x="491072" y="1982391"/>
                </a:cubicBezTo>
                <a:cubicBezTo>
                  <a:pt x="630630" y="2028825"/>
                  <a:pt x="752743" y="2121695"/>
                  <a:pt x="880671" y="2200276"/>
                </a:cubicBezTo>
                <a:cubicBezTo>
                  <a:pt x="933005" y="2232422"/>
                  <a:pt x="970802" y="2268142"/>
                  <a:pt x="991154" y="2336007"/>
                </a:cubicBezTo>
                <a:cubicBezTo>
                  <a:pt x="1008599" y="2400300"/>
                  <a:pt x="1043489" y="2428875"/>
                  <a:pt x="1107453" y="2411016"/>
                </a:cubicBezTo>
                <a:cubicBezTo>
                  <a:pt x="1159787" y="2396729"/>
                  <a:pt x="1215029" y="2403873"/>
                  <a:pt x="1270270" y="2411016"/>
                </a:cubicBezTo>
                <a:cubicBezTo>
                  <a:pt x="1331326" y="2418160"/>
                  <a:pt x="1401105" y="2489597"/>
                  <a:pt x="1386568" y="2528889"/>
                </a:cubicBezTo>
                <a:cubicBezTo>
                  <a:pt x="1357494" y="2593182"/>
                  <a:pt x="1308067" y="2561035"/>
                  <a:pt x="1267362" y="2553891"/>
                </a:cubicBezTo>
                <a:cubicBezTo>
                  <a:pt x="1217936" y="2546748"/>
                  <a:pt x="1127805" y="2528889"/>
                  <a:pt x="1127805" y="2536032"/>
                </a:cubicBezTo>
                <a:cubicBezTo>
                  <a:pt x="1095822" y="2696766"/>
                  <a:pt x="1023136" y="2575322"/>
                  <a:pt x="970802" y="2575322"/>
                </a:cubicBezTo>
                <a:cubicBezTo>
                  <a:pt x="921375" y="2575322"/>
                  <a:pt x="871949" y="2557463"/>
                  <a:pt x="825429" y="2543176"/>
                </a:cubicBezTo>
                <a:cubicBezTo>
                  <a:pt x="764373" y="2525316"/>
                  <a:pt x="709132" y="2557463"/>
                  <a:pt x="650982" y="2564607"/>
                </a:cubicBezTo>
                <a:cubicBezTo>
                  <a:pt x="598648" y="2571751"/>
                  <a:pt x="627722" y="2664620"/>
                  <a:pt x="595740" y="2703909"/>
                </a:cubicBezTo>
                <a:cubicBezTo>
                  <a:pt x="589926" y="2714626"/>
                  <a:pt x="584111" y="2714626"/>
                  <a:pt x="578296" y="2714626"/>
                </a:cubicBezTo>
                <a:cubicBezTo>
                  <a:pt x="560851" y="2993232"/>
                  <a:pt x="255568" y="2925366"/>
                  <a:pt x="255568" y="2936081"/>
                </a:cubicBezTo>
                <a:cubicBezTo>
                  <a:pt x="229401" y="2953941"/>
                  <a:pt x="197419" y="2911079"/>
                  <a:pt x="165437" y="2953941"/>
                </a:cubicBezTo>
                <a:cubicBezTo>
                  <a:pt x="302087" y="3150394"/>
                  <a:pt x="511425" y="3196828"/>
                  <a:pt x="697501" y="3343275"/>
                </a:cubicBezTo>
                <a:cubicBezTo>
                  <a:pt x="543407" y="3393282"/>
                  <a:pt x="453275" y="3221832"/>
                  <a:pt x="339884" y="3243263"/>
                </a:cubicBezTo>
                <a:cubicBezTo>
                  <a:pt x="284643" y="3296842"/>
                  <a:pt x="450368" y="3382566"/>
                  <a:pt x="290458" y="3407569"/>
                </a:cubicBezTo>
                <a:cubicBezTo>
                  <a:pt x="360236" y="3454004"/>
                  <a:pt x="409664" y="3500439"/>
                  <a:pt x="459090" y="3554016"/>
                </a:cubicBezTo>
                <a:cubicBezTo>
                  <a:pt x="543407" y="3650457"/>
                  <a:pt x="560851" y="3714751"/>
                  <a:pt x="520147" y="3843338"/>
                </a:cubicBezTo>
                <a:cubicBezTo>
                  <a:pt x="493979" y="3929063"/>
                  <a:pt x="456183" y="4007645"/>
                  <a:pt x="491072" y="4107657"/>
                </a:cubicBezTo>
                <a:cubicBezTo>
                  <a:pt x="514332" y="4175522"/>
                  <a:pt x="505609" y="4221957"/>
                  <a:pt x="418386" y="4189810"/>
                </a:cubicBezTo>
                <a:cubicBezTo>
                  <a:pt x="325347" y="4157663"/>
                  <a:pt x="290458" y="4218386"/>
                  <a:pt x="313718" y="4339829"/>
                </a:cubicBezTo>
                <a:cubicBezTo>
                  <a:pt x="328254" y="4418410"/>
                  <a:pt x="313718" y="4443413"/>
                  <a:pt x="249753" y="4432698"/>
                </a:cubicBezTo>
                <a:cubicBezTo>
                  <a:pt x="179975" y="4421982"/>
                  <a:pt x="113103" y="4371976"/>
                  <a:pt x="25879" y="4396979"/>
                </a:cubicBezTo>
                <a:cubicBezTo>
                  <a:pt x="95658" y="4539854"/>
                  <a:pt x="243939" y="4496991"/>
                  <a:pt x="325347" y="4632722"/>
                </a:cubicBezTo>
                <a:cubicBezTo>
                  <a:pt x="229401" y="4632722"/>
                  <a:pt x="153807" y="4632722"/>
                  <a:pt x="84029" y="4604147"/>
                </a:cubicBezTo>
                <a:cubicBezTo>
                  <a:pt x="54954" y="4593433"/>
                  <a:pt x="22972" y="4579145"/>
                  <a:pt x="5527" y="4622007"/>
                </a:cubicBezTo>
                <a:cubicBezTo>
                  <a:pt x="-14826" y="4672014"/>
                  <a:pt x="25879" y="4689872"/>
                  <a:pt x="49139" y="4697016"/>
                </a:cubicBezTo>
                <a:cubicBezTo>
                  <a:pt x="116011" y="4722019"/>
                  <a:pt x="168344" y="4779170"/>
                  <a:pt x="226494" y="4825604"/>
                </a:cubicBezTo>
                <a:cubicBezTo>
                  <a:pt x="351514" y="4925616"/>
                  <a:pt x="488165" y="5011341"/>
                  <a:pt x="592833" y="5175647"/>
                </a:cubicBezTo>
                <a:cubicBezTo>
                  <a:pt x="461997" y="5132785"/>
                  <a:pt x="363144" y="5032772"/>
                  <a:pt x="238123" y="5014913"/>
                </a:cubicBezTo>
                <a:cubicBezTo>
                  <a:pt x="345700" y="5164932"/>
                  <a:pt x="482350" y="5264944"/>
                  <a:pt x="610278" y="5375673"/>
                </a:cubicBezTo>
                <a:cubicBezTo>
                  <a:pt x="648075" y="5407819"/>
                  <a:pt x="685872" y="5429250"/>
                  <a:pt x="691686" y="5497116"/>
                </a:cubicBezTo>
                <a:cubicBezTo>
                  <a:pt x="709132" y="5629276"/>
                  <a:pt x="755650" y="5736432"/>
                  <a:pt x="860319" y="5793582"/>
                </a:cubicBezTo>
                <a:cubicBezTo>
                  <a:pt x="860319" y="5793582"/>
                  <a:pt x="854504" y="5815013"/>
                  <a:pt x="851597" y="5825729"/>
                </a:cubicBezTo>
                <a:cubicBezTo>
                  <a:pt x="787632" y="5829301"/>
                  <a:pt x="738206" y="5750720"/>
                  <a:pt x="659704" y="5779295"/>
                </a:cubicBezTo>
                <a:cubicBezTo>
                  <a:pt x="738206" y="5886451"/>
                  <a:pt x="802169" y="5979319"/>
                  <a:pt x="909746" y="6029326"/>
                </a:cubicBezTo>
                <a:cubicBezTo>
                  <a:pt x="996969" y="6068616"/>
                  <a:pt x="1104545" y="6093620"/>
                  <a:pt x="1168509" y="6222207"/>
                </a:cubicBezTo>
                <a:cubicBezTo>
                  <a:pt x="1095822" y="6247210"/>
                  <a:pt x="1040581" y="6215063"/>
                  <a:pt x="985339" y="6193632"/>
                </a:cubicBezTo>
                <a:cubicBezTo>
                  <a:pt x="901023" y="6157913"/>
                  <a:pt x="816707" y="6118623"/>
                  <a:pt x="732391" y="6082904"/>
                </a:cubicBezTo>
                <a:cubicBezTo>
                  <a:pt x="700408" y="6068616"/>
                  <a:pt x="665519" y="6061472"/>
                  <a:pt x="645167" y="6125766"/>
                </a:cubicBezTo>
                <a:cubicBezTo>
                  <a:pt x="752743" y="6140053"/>
                  <a:pt x="816707" y="6225779"/>
                  <a:pt x="883579" y="6307932"/>
                </a:cubicBezTo>
                <a:cubicBezTo>
                  <a:pt x="921375" y="6354366"/>
                  <a:pt x="953358" y="6415088"/>
                  <a:pt x="1020229" y="6393657"/>
                </a:cubicBezTo>
                <a:cubicBezTo>
                  <a:pt x="1055118" y="6382942"/>
                  <a:pt x="1078378" y="6415088"/>
                  <a:pt x="1075471" y="6457950"/>
                </a:cubicBezTo>
                <a:cubicBezTo>
                  <a:pt x="1060933" y="6607970"/>
                  <a:pt x="1145250" y="6657976"/>
                  <a:pt x="1232473" y="6686551"/>
                </a:cubicBezTo>
                <a:cubicBezTo>
                  <a:pt x="1360401" y="6729413"/>
                  <a:pt x="1473792" y="6815138"/>
                  <a:pt x="1592997" y="6886576"/>
                </a:cubicBezTo>
                <a:lnTo>
                  <a:pt x="5511704" y="6886576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B7089E-8512-4AD3-AE5A-3C458ED09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13312"/>
            <a:ext cx="4038600" cy="5431376"/>
          </a:xfrm>
        </p:spPr>
        <p:txBody>
          <a:bodyPr>
            <a:normAutofit/>
          </a:bodyPr>
          <a:lstStyle/>
          <a:p>
            <a:r>
              <a:rPr lang="fr-FR" dirty="0"/>
              <a:t>Exemple 1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6CD205-1827-4FC6-A33A-72F9F6006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1" y="523875"/>
            <a:ext cx="6477000" cy="5620814"/>
          </a:xfrm>
        </p:spPr>
        <p:txBody>
          <a:bodyPr anchor="ctr">
            <a:normAutofit/>
          </a:bodyPr>
          <a:lstStyle/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quisition le 1 janvier N, pour 20 000,00 € H.T, d’une immobilisation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d'utilisation 4 ans. 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xercice coïncide avec l’année civile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stion.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ésentez le plan d’amortissement.</a:t>
            </a:r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4373668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2C7AE2-AA15-4850-BBBB-A168A1B6B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1325563"/>
          </a:xfrm>
        </p:spPr>
        <p:txBody>
          <a:bodyPr>
            <a:normAutofit/>
          </a:bodyPr>
          <a:lstStyle/>
          <a:p>
            <a:r>
              <a:rPr lang="fr-FR" sz="5400"/>
              <a:t>Plan d’amortissement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77AC19AD-F523-4504-8864-039CD8BE60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6996871"/>
              </p:ext>
            </p:extLst>
          </p:nvPr>
        </p:nvGraphicFramePr>
        <p:xfrm>
          <a:off x="200025" y="2085974"/>
          <a:ext cx="11878765" cy="3888106"/>
        </p:xfrm>
        <a:graphic>
          <a:graphicData uri="http://schemas.openxmlformats.org/drawingml/2006/table">
            <a:tbl>
              <a:tblPr firstRow="1" bandRow="1"/>
              <a:tblGrid>
                <a:gridCol w="1910951">
                  <a:extLst>
                    <a:ext uri="{9D8B030D-6E8A-4147-A177-3AD203B41FA5}">
                      <a16:colId xmlns:a16="http://schemas.microsoft.com/office/drawing/2014/main" val="3617378616"/>
                    </a:ext>
                  </a:extLst>
                </a:gridCol>
                <a:gridCol w="2333406">
                  <a:extLst>
                    <a:ext uri="{9D8B030D-6E8A-4147-A177-3AD203B41FA5}">
                      <a16:colId xmlns:a16="http://schemas.microsoft.com/office/drawing/2014/main" val="2209619005"/>
                    </a:ext>
                  </a:extLst>
                </a:gridCol>
                <a:gridCol w="2278745">
                  <a:extLst>
                    <a:ext uri="{9D8B030D-6E8A-4147-A177-3AD203B41FA5}">
                      <a16:colId xmlns:a16="http://schemas.microsoft.com/office/drawing/2014/main" val="2119392953"/>
                    </a:ext>
                  </a:extLst>
                </a:gridCol>
                <a:gridCol w="1613546">
                  <a:extLst>
                    <a:ext uri="{9D8B030D-6E8A-4147-A177-3AD203B41FA5}">
                      <a16:colId xmlns:a16="http://schemas.microsoft.com/office/drawing/2014/main" val="1642900458"/>
                    </a:ext>
                  </a:extLst>
                </a:gridCol>
                <a:gridCol w="1841761">
                  <a:extLst>
                    <a:ext uri="{9D8B030D-6E8A-4147-A177-3AD203B41FA5}">
                      <a16:colId xmlns:a16="http://schemas.microsoft.com/office/drawing/2014/main" val="4074823274"/>
                    </a:ext>
                  </a:extLst>
                </a:gridCol>
                <a:gridCol w="1900356">
                  <a:extLst>
                    <a:ext uri="{9D8B030D-6E8A-4147-A177-3AD203B41FA5}">
                      <a16:colId xmlns:a16="http://schemas.microsoft.com/office/drawing/2014/main" val="3489293159"/>
                    </a:ext>
                  </a:extLst>
                </a:gridCol>
              </a:tblGrid>
              <a:tr h="903460">
                <a:tc>
                  <a:txBody>
                    <a:bodyPr/>
                    <a:lstStyle/>
                    <a:p>
                      <a:pPr algn="ctr"/>
                      <a:r>
                        <a:rPr lang="fr-FR" sz="20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 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2000" b="1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cumulées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960882"/>
                  </a:ext>
                </a:extLst>
              </a:tr>
              <a:tr h="903460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/4 = 25 %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lang="fr-FR" sz="2200" b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2200" b="0" kern="120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5 000,00</a:t>
                      </a: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1754418"/>
                  </a:ext>
                </a:extLst>
              </a:tr>
              <a:tr h="540462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 000,00</a:t>
                      </a:r>
                      <a:endParaRPr lang="fr-FR" sz="2200" b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200" b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0 000,0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35749"/>
                  </a:ext>
                </a:extLst>
              </a:tr>
              <a:tr h="500131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5 000,00 </a:t>
                      </a:r>
                      <a:endParaRPr lang="fr-FR" sz="2200" b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975873"/>
                  </a:ext>
                </a:extLst>
              </a:tr>
              <a:tr h="500131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kumimoji="0" lang="fr-FR" sz="2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lang="fr-FR" sz="2200" b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7973315"/>
                  </a:ext>
                </a:extLst>
              </a:tr>
              <a:tr h="540462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</a:t>
                      </a:r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20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 000,00</a:t>
                      </a: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fr-FR" sz="22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1332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44628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44713-AF21-4543-94FE-A96FEBAA2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20065"/>
          </a:xfrm>
        </p:spPr>
        <p:txBody>
          <a:bodyPr>
            <a:normAutofit fontScale="90000"/>
          </a:bodyPr>
          <a:lstStyle/>
          <a:p>
            <a:r>
              <a:rPr lang="fr-FR" dirty="0"/>
              <a:t>Correction RRR 1</a:t>
            </a:r>
          </a:p>
        </p:txBody>
      </p:sp>
      <p:graphicFrame>
        <p:nvGraphicFramePr>
          <p:cNvPr id="5" name="Espace réservé du contenu 4">
            <a:extLst>
              <a:ext uri="{FF2B5EF4-FFF2-40B4-BE49-F238E27FC236}">
                <a16:creationId xmlns:a16="http://schemas.microsoft.com/office/drawing/2014/main" id="{45F626AC-1F44-4757-B4FD-077685C39A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873400"/>
              </p:ext>
            </p:extLst>
          </p:nvPr>
        </p:nvGraphicFramePr>
        <p:xfrm>
          <a:off x="407504" y="1361662"/>
          <a:ext cx="5367130" cy="4572000"/>
        </p:xfrm>
        <a:graphic>
          <a:graphicData uri="http://schemas.openxmlformats.org/drawingml/2006/table">
            <a:tbl>
              <a:tblPr/>
              <a:tblGrid>
                <a:gridCol w="3146169">
                  <a:extLst>
                    <a:ext uri="{9D8B030D-6E8A-4147-A177-3AD203B41FA5}">
                      <a16:colId xmlns:a16="http://schemas.microsoft.com/office/drawing/2014/main" val="2193574691"/>
                    </a:ext>
                  </a:extLst>
                </a:gridCol>
                <a:gridCol w="2220961">
                  <a:extLst>
                    <a:ext uri="{9D8B030D-6E8A-4147-A177-3AD203B41FA5}">
                      <a16:colId xmlns:a16="http://schemas.microsoft.com/office/drawing/2014/main" val="1328386562"/>
                    </a:ext>
                  </a:extLst>
                </a:gridCol>
              </a:tblGrid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6574444"/>
                  </a:ext>
                </a:extLst>
              </a:tr>
              <a:tr h="296849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04/01/N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7411817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6775157"/>
                  </a:ext>
                </a:extLst>
              </a:tr>
              <a:tr h="296849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20F15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441848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ut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950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7884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42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1627039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787810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commercial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484999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841,5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46022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003738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T.T.C à paye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 049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970384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6750611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ompte 1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83233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1887708"/>
                  </a:ext>
                </a:extLst>
              </a:tr>
              <a:tr h="296849">
                <a:tc>
                  <a:txBody>
                    <a:bodyPr/>
                    <a:lstStyle/>
                    <a:p>
                      <a:pPr algn="l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stant dû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783960"/>
                  </a:ext>
                </a:extLst>
              </a:tr>
            </a:tbl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386674B8-23E5-4776-9065-5B640B3F8F6F}"/>
              </a:ext>
            </a:extLst>
          </p:cNvPr>
          <p:cNvSpPr txBox="1"/>
          <p:nvPr/>
        </p:nvSpPr>
        <p:spPr>
          <a:xfrm>
            <a:off x="685800" y="6061987"/>
            <a:ext cx="99316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1844675" algn="l"/>
              </a:tabLst>
            </a:pPr>
            <a:r>
              <a:rPr lang="fr-FR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cernant la facture d’avoir, elle concerne le retour de 216 bouteilles, soit 18 cartons de 12 bouteilles (ou 40 % du volume total de la commande)</a:t>
            </a:r>
            <a:endParaRPr lang="fr-FR" sz="2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45AFCB1D-0726-4004-BD1A-A1FB07D0A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193603"/>
              </p:ext>
            </p:extLst>
          </p:nvPr>
        </p:nvGraphicFramePr>
        <p:xfrm>
          <a:off x="6096000" y="1291266"/>
          <a:ext cx="5989983" cy="4642396"/>
        </p:xfrm>
        <a:graphic>
          <a:graphicData uri="http://schemas.openxmlformats.org/drawingml/2006/table">
            <a:tbl>
              <a:tblPr/>
              <a:tblGrid>
                <a:gridCol w="3507702">
                  <a:extLst>
                    <a:ext uri="{9D8B030D-6E8A-4147-A177-3AD203B41FA5}">
                      <a16:colId xmlns:a16="http://schemas.microsoft.com/office/drawing/2014/main" val="2749476516"/>
                    </a:ext>
                  </a:extLst>
                </a:gridCol>
                <a:gridCol w="2482281">
                  <a:extLst>
                    <a:ext uri="{9D8B030D-6E8A-4147-A177-3AD203B41FA5}">
                      <a16:colId xmlns:a16="http://schemas.microsoft.com/office/drawing/2014/main" val="601506998"/>
                    </a:ext>
                  </a:extLst>
                </a:gridCol>
              </a:tblGrid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764784"/>
                  </a:ext>
                </a:extLst>
              </a:tr>
              <a:tr h="422036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19/01/N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1224508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7096690"/>
                  </a:ext>
                </a:extLst>
              </a:tr>
              <a:tr h="422036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6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259016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tour 18 cartons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980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3141582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Remise 15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7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784152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5469773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683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795023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336,6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1357281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499866"/>
                  </a:ext>
                </a:extLst>
              </a:tr>
              <a:tr h="422036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 votre faveu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1683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03485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7718681-A12E-49D6-9925-DD7C6817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D77573-9EF2-4C35-8285-A1CF6FBB0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5511704" cy="6858000"/>
          </a:xfrm>
          <a:custGeom>
            <a:avLst/>
            <a:gdLst>
              <a:gd name="connsiteX0" fmla="*/ 5511704 w 5511704"/>
              <a:gd name="connsiteY0" fmla="*/ 0 h 6886576"/>
              <a:gd name="connsiteX1" fmla="*/ 1008599 w 5511704"/>
              <a:gd name="connsiteY1" fmla="*/ 0 h 6886576"/>
              <a:gd name="connsiteX2" fmla="*/ 1310975 w 5511704"/>
              <a:gd name="connsiteY2" fmla="*/ 110728 h 6886576"/>
              <a:gd name="connsiteX3" fmla="*/ 1267362 w 5511704"/>
              <a:gd name="connsiteY3" fmla="*/ 135731 h 6886576"/>
              <a:gd name="connsiteX4" fmla="*/ 1005692 w 5511704"/>
              <a:gd name="connsiteY4" fmla="*/ 71437 h 6886576"/>
              <a:gd name="connsiteX5" fmla="*/ 953358 w 5511704"/>
              <a:gd name="connsiteY5" fmla="*/ 89297 h 6886576"/>
              <a:gd name="connsiteX6" fmla="*/ 979525 w 5511704"/>
              <a:gd name="connsiteY6" fmla="*/ 164307 h 6886576"/>
              <a:gd name="connsiteX7" fmla="*/ 1092915 w 5511704"/>
              <a:gd name="connsiteY7" fmla="*/ 192882 h 6886576"/>
              <a:gd name="connsiteX8" fmla="*/ 1270270 w 5511704"/>
              <a:gd name="connsiteY8" fmla="*/ 375047 h 6886576"/>
              <a:gd name="connsiteX9" fmla="*/ 1002784 w 5511704"/>
              <a:gd name="connsiteY9" fmla="*/ 353615 h 6886576"/>
              <a:gd name="connsiteX10" fmla="*/ 956265 w 5511704"/>
              <a:gd name="connsiteY10" fmla="*/ 396479 h 6886576"/>
              <a:gd name="connsiteX11" fmla="*/ 938820 w 5511704"/>
              <a:gd name="connsiteY11" fmla="*/ 453629 h 6886576"/>
              <a:gd name="connsiteX12" fmla="*/ 860319 w 5511704"/>
              <a:gd name="connsiteY12" fmla="*/ 360759 h 6886576"/>
              <a:gd name="connsiteX13" fmla="*/ 793447 w 5511704"/>
              <a:gd name="connsiteY13" fmla="*/ 335757 h 6886576"/>
              <a:gd name="connsiteX14" fmla="*/ 773095 w 5511704"/>
              <a:gd name="connsiteY14" fmla="*/ 417910 h 6886576"/>
              <a:gd name="connsiteX15" fmla="*/ 834151 w 5511704"/>
              <a:gd name="connsiteY15" fmla="*/ 507206 h 6886576"/>
              <a:gd name="connsiteX16" fmla="*/ 996969 w 5511704"/>
              <a:gd name="connsiteY16" fmla="*/ 560785 h 6886576"/>
              <a:gd name="connsiteX17" fmla="*/ 822522 w 5511704"/>
              <a:gd name="connsiteY17" fmla="*/ 560785 h 6886576"/>
              <a:gd name="connsiteX18" fmla="*/ 621908 w 5511704"/>
              <a:gd name="connsiteY18" fmla="*/ 525066 h 6886576"/>
              <a:gd name="connsiteX19" fmla="*/ 409664 w 5511704"/>
              <a:gd name="connsiteY19" fmla="*/ 535781 h 6886576"/>
              <a:gd name="connsiteX20" fmla="*/ 209049 w 5511704"/>
              <a:gd name="connsiteY20" fmla="*/ 464344 h 6886576"/>
              <a:gd name="connsiteX21" fmla="*/ 5527 w 5511704"/>
              <a:gd name="connsiteY21" fmla="*/ 467916 h 6886576"/>
              <a:gd name="connsiteX22" fmla="*/ 906838 w 5511704"/>
              <a:gd name="connsiteY22" fmla="*/ 914400 h 6886576"/>
              <a:gd name="connsiteX23" fmla="*/ 863226 w 5511704"/>
              <a:gd name="connsiteY23" fmla="*/ 925116 h 6886576"/>
              <a:gd name="connsiteX24" fmla="*/ 805077 w 5511704"/>
              <a:gd name="connsiteY24" fmla="*/ 953691 h 6886576"/>
              <a:gd name="connsiteX25" fmla="*/ 848689 w 5511704"/>
              <a:gd name="connsiteY25" fmla="*/ 1010841 h 6886576"/>
              <a:gd name="connsiteX26" fmla="*/ 1084193 w 5511704"/>
              <a:gd name="connsiteY26" fmla="*/ 1117997 h 6886576"/>
              <a:gd name="connsiteX27" fmla="*/ 1142342 w 5511704"/>
              <a:gd name="connsiteY27" fmla="*/ 1225153 h 6886576"/>
              <a:gd name="connsiteX28" fmla="*/ 1069655 w 5511704"/>
              <a:gd name="connsiteY28" fmla="*/ 1214438 h 6886576"/>
              <a:gd name="connsiteX29" fmla="*/ 1005692 w 5511704"/>
              <a:gd name="connsiteY29" fmla="*/ 1235869 h 6886576"/>
              <a:gd name="connsiteX30" fmla="*/ 1031858 w 5511704"/>
              <a:gd name="connsiteY30" fmla="*/ 1371600 h 6886576"/>
              <a:gd name="connsiteX31" fmla="*/ 1366216 w 5511704"/>
              <a:gd name="connsiteY31" fmla="*/ 1546622 h 6886576"/>
              <a:gd name="connsiteX32" fmla="*/ 1395290 w 5511704"/>
              <a:gd name="connsiteY32" fmla="*/ 1603772 h 6886576"/>
              <a:gd name="connsiteX33" fmla="*/ 1354586 w 5511704"/>
              <a:gd name="connsiteY33" fmla="*/ 1643063 h 6886576"/>
              <a:gd name="connsiteX34" fmla="*/ 1247011 w 5511704"/>
              <a:gd name="connsiteY34" fmla="*/ 1664494 h 6886576"/>
              <a:gd name="connsiteX35" fmla="*/ 1398198 w 5511704"/>
              <a:gd name="connsiteY35" fmla="*/ 1857375 h 6886576"/>
              <a:gd name="connsiteX36" fmla="*/ 1453440 w 5511704"/>
              <a:gd name="connsiteY36" fmla="*/ 1910954 h 6886576"/>
              <a:gd name="connsiteX37" fmla="*/ 1549386 w 5511704"/>
              <a:gd name="connsiteY37" fmla="*/ 1993106 h 6886576"/>
              <a:gd name="connsiteX38" fmla="*/ 1549386 w 5511704"/>
              <a:gd name="connsiteY38" fmla="*/ 2021681 h 6886576"/>
              <a:gd name="connsiteX39" fmla="*/ 1421458 w 5511704"/>
              <a:gd name="connsiteY39" fmla="*/ 2110978 h 6886576"/>
              <a:gd name="connsiteX40" fmla="*/ 1188861 w 5511704"/>
              <a:gd name="connsiteY40" fmla="*/ 2085976 h 6886576"/>
              <a:gd name="connsiteX41" fmla="*/ 1531941 w 5511704"/>
              <a:gd name="connsiteY41" fmla="*/ 2218135 h 6886576"/>
              <a:gd name="connsiteX42" fmla="*/ 421293 w 5511704"/>
              <a:gd name="connsiteY42" fmla="*/ 1900238 h 6886576"/>
              <a:gd name="connsiteX43" fmla="*/ 491072 w 5511704"/>
              <a:gd name="connsiteY43" fmla="*/ 1982391 h 6886576"/>
              <a:gd name="connsiteX44" fmla="*/ 880671 w 5511704"/>
              <a:gd name="connsiteY44" fmla="*/ 2200276 h 6886576"/>
              <a:gd name="connsiteX45" fmla="*/ 991154 w 5511704"/>
              <a:gd name="connsiteY45" fmla="*/ 2336007 h 6886576"/>
              <a:gd name="connsiteX46" fmla="*/ 1107453 w 5511704"/>
              <a:gd name="connsiteY46" fmla="*/ 2411016 h 6886576"/>
              <a:gd name="connsiteX47" fmla="*/ 1270270 w 5511704"/>
              <a:gd name="connsiteY47" fmla="*/ 2411016 h 6886576"/>
              <a:gd name="connsiteX48" fmla="*/ 1386568 w 5511704"/>
              <a:gd name="connsiteY48" fmla="*/ 2528889 h 6886576"/>
              <a:gd name="connsiteX49" fmla="*/ 1267362 w 5511704"/>
              <a:gd name="connsiteY49" fmla="*/ 2553891 h 6886576"/>
              <a:gd name="connsiteX50" fmla="*/ 1127805 w 5511704"/>
              <a:gd name="connsiteY50" fmla="*/ 2536032 h 6886576"/>
              <a:gd name="connsiteX51" fmla="*/ 970802 w 5511704"/>
              <a:gd name="connsiteY51" fmla="*/ 2575322 h 6886576"/>
              <a:gd name="connsiteX52" fmla="*/ 825429 w 5511704"/>
              <a:gd name="connsiteY52" fmla="*/ 2543176 h 6886576"/>
              <a:gd name="connsiteX53" fmla="*/ 650982 w 5511704"/>
              <a:gd name="connsiteY53" fmla="*/ 2564607 h 6886576"/>
              <a:gd name="connsiteX54" fmla="*/ 595740 w 5511704"/>
              <a:gd name="connsiteY54" fmla="*/ 2703909 h 6886576"/>
              <a:gd name="connsiteX55" fmla="*/ 578296 w 5511704"/>
              <a:gd name="connsiteY55" fmla="*/ 2714626 h 6886576"/>
              <a:gd name="connsiteX56" fmla="*/ 255568 w 5511704"/>
              <a:gd name="connsiteY56" fmla="*/ 2936081 h 6886576"/>
              <a:gd name="connsiteX57" fmla="*/ 165437 w 5511704"/>
              <a:gd name="connsiteY57" fmla="*/ 2953941 h 6886576"/>
              <a:gd name="connsiteX58" fmla="*/ 697501 w 5511704"/>
              <a:gd name="connsiteY58" fmla="*/ 3343275 h 6886576"/>
              <a:gd name="connsiteX59" fmla="*/ 339884 w 5511704"/>
              <a:gd name="connsiteY59" fmla="*/ 3243263 h 6886576"/>
              <a:gd name="connsiteX60" fmla="*/ 290458 w 5511704"/>
              <a:gd name="connsiteY60" fmla="*/ 3407569 h 6886576"/>
              <a:gd name="connsiteX61" fmla="*/ 459090 w 5511704"/>
              <a:gd name="connsiteY61" fmla="*/ 3554016 h 6886576"/>
              <a:gd name="connsiteX62" fmla="*/ 520147 w 5511704"/>
              <a:gd name="connsiteY62" fmla="*/ 3843338 h 6886576"/>
              <a:gd name="connsiteX63" fmla="*/ 491072 w 5511704"/>
              <a:gd name="connsiteY63" fmla="*/ 4107657 h 6886576"/>
              <a:gd name="connsiteX64" fmla="*/ 418386 w 5511704"/>
              <a:gd name="connsiteY64" fmla="*/ 4189810 h 6886576"/>
              <a:gd name="connsiteX65" fmla="*/ 313718 w 5511704"/>
              <a:gd name="connsiteY65" fmla="*/ 4339829 h 6886576"/>
              <a:gd name="connsiteX66" fmla="*/ 249753 w 5511704"/>
              <a:gd name="connsiteY66" fmla="*/ 4432698 h 6886576"/>
              <a:gd name="connsiteX67" fmla="*/ 25879 w 5511704"/>
              <a:gd name="connsiteY67" fmla="*/ 4396979 h 6886576"/>
              <a:gd name="connsiteX68" fmla="*/ 325347 w 5511704"/>
              <a:gd name="connsiteY68" fmla="*/ 4632722 h 6886576"/>
              <a:gd name="connsiteX69" fmla="*/ 84029 w 5511704"/>
              <a:gd name="connsiteY69" fmla="*/ 4604147 h 6886576"/>
              <a:gd name="connsiteX70" fmla="*/ 5527 w 5511704"/>
              <a:gd name="connsiteY70" fmla="*/ 4622007 h 6886576"/>
              <a:gd name="connsiteX71" fmla="*/ 49139 w 5511704"/>
              <a:gd name="connsiteY71" fmla="*/ 4697016 h 6886576"/>
              <a:gd name="connsiteX72" fmla="*/ 226494 w 5511704"/>
              <a:gd name="connsiteY72" fmla="*/ 4825604 h 6886576"/>
              <a:gd name="connsiteX73" fmla="*/ 592833 w 5511704"/>
              <a:gd name="connsiteY73" fmla="*/ 5175647 h 6886576"/>
              <a:gd name="connsiteX74" fmla="*/ 238123 w 5511704"/>
              <a:gd name="connsiteY74" fmla="*/ 5014913 h 6886576"/>
              <a:gd name="connsiteX75" fmla="*/ 610278 w 5511704"/>
              <a:gd name="connsiteY75" fmla="*/ 5375673 h 6886576"/>
              <a:gd name="connsiteX76" fmla="*/ 691686 w 5511704"/>
              <a:gd name="connsiteY76" fmla="*/ 5497116 h 6886576"/>
              <a:gd name="connsiteX77" fmla="*/ 860319 w 5511704"/>
              <a:gd name="connsiteY77" fmla="*/ 5793582 h 6886576"/>
              <a:gd name="connsiteX78" fmla="*/ 851597 w 5511704"/>
              <a:gd name="connsiteY78" fmla="*/ 5825729 h 6886576"/>
              <a:gd name="connsiteX79" fmla="*/ 659704 w 5511704"/>
              <a:gd name="connsiteY79" fmla="*/ 5779295 h 6886576"/>
              <a:gd name="connsiteX80" fmla="*/ 909746 w 5511704"/>
              <a:gd name="connsiteY80" fmla="*/ 6029326 h 6886576"/>
              <a:gd name="connsiteX81" fmla="*/ 1168509 w 5511704"/>
              <a:gd name="connsiteY81" fmla="*/ 6222207 h 6886576"/>
              <a:gd name="connsiteX82" fmla="*/ 985339 w 5511704"/>
              <a:gd name="connsiteY82" fmla="*/ 6193632 h 6886576"/>
              <a:gd name="connsiteX83" fmla="*/ 732391 w 5511704"/>
              <a:gd name="connsiteY83" fmla="*/ 6082904 h 6886576"/>
              <a:gd name="connsiteX84" fmla="*/ 645167 w 5511704"/>
              <a:gd name="connsiteY84" fmla="*/ 6125766 h 6886576"/>
              <a:gd name="connsiteX85" fmla="*/ 883579 w 5511704"/>
              <a:gd name="connsiteY85" fmla="*/ 6307932 h 6886576"/>
              <a:gd name="connsiteX86" fmla="*/ 1020229 w 5511704"/>
              <a:gd name="connsiteY86" fmla="*/ 6393657 h 6886576"/>
              <a:gd name="connsiteX87" fmla="*/ 1075471 w 5511704"/>
              <a:gd name="connsiteY87" fmla="*/ 6457950 h 6886576"/>
              <a:gd name="connsiteX88" fmla="*/ 1232473 w 5511704"/>
              <a:gd name="connsiteY88" fmla="*/ 6686551 h 6886576"/>
              <a:gd name="connsiteX89" fmla="*/ 1592997 w 5511704"/>
              <a:gd name="connsiteY89" fmla="*/ 6886576 h 6886576"/>
              <a:gd name="connsiteX90" fmla="*/ 5511704 w 5511704"/>
              <a:gd name="connsiteY90" fmla="*/ 6886576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5511704" h="6886576">
                <a:moveTo>
                  <a:pt x="5511704" y="0"/>
                </a:moveTo>
                <a:lnTo>
                  <a:pt x="1008599" y="0"/>
                </a:lnTo>
                <a:cubicBezTo>
                  <a:pt x="1110360" y="35719"/>
                  <a:pt x="1209214" y="78581"/>
                  <a:pt x="1310975" y="110728"/>
                </a:cubicBezTo>
                <a:cubicBezTo>
                  <a:pt x="1296437" y="146447"/>
                  <a:pt x="1281900" y="139303"/>
                  <a:pt x="1267362" y="135731"/>
                </a:cubicBezTo>
                <a:cubicBezTo>
                  <a:pt x="1180139" y="121445"/>
                  <a:pt x="1090008" y="110728"/>
                  <a:pt x="1005692" y="71437"/>
                </a:cubicBezTo>
                <a:cubicBezTo>
                  <a:pt x="985339" y="64294"/>
                  <a:pt x="962080" y="64294"/>
                  <a:pt x="953358" y="89297"/>
                </a:cubicBezTo>
                <a:cubicBezTo>
                  <a:pt x="938820" y="125016"/>
                  <a:pt x="959172" y="146447"/>
                  <a:pt x="979525" y="164307"/>
                </a:cubicBezTo>
                <a:cubicBezTo>
                  <a:pt x="1014414" y="196453"/>
                  <a:pt x="1055118" y="189310"/>
                  <a:pt x="1092915" y="192882"/>
                </a:cubicBezTo>
                <a:cubicBezTo>
                  <a:pt x="1197583" y="210741"/>
                  <a:pt x="1247011" y="260747"/>
                  <a:pt x="1270270" y="375047"/>
                </a:cubicBezTo>
                <a:cubicBezTo>
                  <a:pt x="1180139" y="328613"/>
                  <a:pt x="1090008" y="385763"/>
                  <a:pt x="1002784" y="353615"/>
                </a:cubicBezTo>
                <a:cubicBezTo>
                  <a:pt x="979525" y="346472"/>
                  <a:pt x="944635" y="357188"/>
                  <a:pt x="956265" y="396479"/>
                </a:cubicBezTo>
                <a:cubicBezTo>
                  <a:pt x="967894" y="432198"/>
                  <a:pt x="1005692" y="460772"/>
                  <a:pt x="938820" y="453629"/>
                </a:cubicBezTo>
                <a:cubicBezTo>
                  <a:pt x="889393" y="450056"/>
                  <a:pt x="874856" y="407194"/>
                  <a:pt x="860319" y="360759"/>
                </a:cubicBezTo>
                <a:cubicBezTo>
                  <a:pt x="848689" y="335757"/>
                  <a:pt x="816707" y="321469"/>
                  <a:pt x="793447" y="335757"/>
                </a:cubicBezTo>
                <a:cubicBezTo>
                  <a:pt x="764373" y="350044"/>
                  <a:pt x="773095" y="389335"/>
                  <a:pt x="773095" y="417910"/>
                </a:cubicBezTo>
                <a:cubicBezTo>
                  <a:pt x="770187" y="471488"/>
                  <a:pt x="793447" y="496491"/>
                  <a:pt x="834151" y="507206"/>
                </a:cubicBezTo>
                <a:cubicBezTo>
                  <a:pt x="883579" y="521494"/>
                  <a:pt x="933005" y="539354"/>
                  <a:pt x="996969" y="560785"/>
                </a:cubicBezTo>
                <a:cubicBezTo>
                  <a:pt x="927190" y="596503"/>
                  <a:pt x="874856" y="589360"/>
                  <a:pt x="822522" y="560785"/>
                </a:cubicBezTo>
                <a:cubicBezTo>
                  <a:pt x="758558" y="528637"/>
                  <a:pt x="674242" y="485775"/>
                  <a:pt x="621908" y="525066"/>
                </a:cubicBezTo>
                <a:cubicBezTo>
                  <a:pt x="543407" y="582216"/>
                  <a:pt x="479443" y="546497"/>
                  <a:pt x="409664" y="535781"/>
                </a:cubicBezTo>
                <a:cubicBezTo>
                  <a:pt x="264290" y="514350"/>
                  <a:pt x="354422" y="482204"/>
                  <a:pt x="209049" y="464344"/>
                </a:cubicBezTo>
                <a:cubicBezTo>
                  <a:pt x="150900" y="457200"/>
                  <a:pt x="89843" y="428625"/>
                  <a:pt x="5527" y="467916"/>
                </a:cubicBezTo>
                <a:cubicBezTo>
                  <a:pt x="386404" y="675085"/>
                  <a:pt x="566666" y="660797"/>
                  <a:pt x="906838" y="914400"/>
                </a:cubicBezTo>
                <a:cubicBezTo>
                  <a:pt x="892301" y="939404"/>
                  <a:pt x="877764" y="928688"/>
                  <a:pt x="863226" y="925116"/>
                </a:cubicBezTo>
                <a:cubicBezTo>
                  <a:pt x="839967" y="921544"/>
                  <a:pt x="810892" y="907256"/>
                  <a:pt x="805077" y="953691"/>
                </a:cubicBezTo>
                <a:cubicBezTo>
                  <a:pt x="802169" y="989410"/>
                  <a:pt x="819615" y="1007269"/>
                  <a:pt x="848689" y="1010841"/>
                </a:cubicBezTo>
                <a:cubicBezTo>
                  <a:pt x="933005" y="1025129"/>
                  <a:pt x="1008599" y="1075135"/>
                  <a:pt x="1084193" y="1117997"/>
                </a:cubicBezTo>
                <a:cubicBezTo>
                  <a:pt x="1119082" y="1135857"/>
                  <a:pt x="1156879" y="1160860"/>
                  <a:pt x="1142342" y="1225153"/>
                </a:cubicBezTo>
                <a:cubicBezTo>
                  <a:pt x="1113268" y="1243013"/>
                  <a:pt x="1092915" y="1218009"/>
                  <a:pt x="1069655" y="1214438"/>
                </a:cubicBezTo>
                <a:cubicBezTo>
                  <a:pt x="1046396" y="1210866"/>
                  <a:pt x="991154" y="1225153"/>
                  <a:pt x="1005692" y="1235869"/>
                </a:cubicBezTo>
                <a:cubicBezTo>
                  <a:pt x="1072563" y="1275159"/>
                  <a:pt x="950450" y="1371600"/>
                  <a:pt x="1031858" y="1371600"/>
                </a:cubicBezTo>
                <a:cubicBezTo>
                  <a:pt x="1165601" y="1371600"/>
                  <a:pt x="1238288" y="1543050"/>
                  <a:pt x="1366216" y="1546622"/>
                </a:cubicBezTo>
                <a:cubicBezTo>
                  <a:pt x="1386568" y="1546622"/>
                  <a:pt x="1395290" y="1578770"/>
                  <a:pt x="1395290" y="1603772"/>
                </a:cubicBezTo>
                <a:cubicBezTo>
                  <a:pt x="1395290" y="1635920"/>
                  <a:pt x="1374939" y="1639491"/>
                  <a:pt x="1354586" y="1643063"/>
                </a:cubicBezTo>
                <a:cubicBezTo>
                  <a:pt x="1322604" y="1646635"/>
                  <a:pt x="1287715" y="1603772"/>
                  <a:pt x="1247011" y="1664494"/>
                </a:cubicBezTo>
                <a:cubicBezTo>
                  <a:pt x="1322604" y="1700213"/>
                  <a:pt x="1401105" y="1735932"/>
                  <a:pt x="1398198" y="1857375"/>
                </a:cubicBezTo>
                <a:cubicBezTo>
                  <a:pt x="1398198" y="1889523"/>
                  <a:pt x="1430180" y="1903810"/>
                  <a:pt x="1453440" y="1910954"/>
                </a:cubicBezTo>
                <a:cubicBezTo>
                  <a:pt x="1494144" y="1925241"/>
                  <a:pt x="1526126" y="1946673"/>
                  <a:pt x="1549386" y="1993106"/>
                </a:cubicBezTo>
                <a:cubicBezTo>
                  <a:pt x="1549386" y="2003822"/>
                  <a:pt x="1549386" y="2010966"/>
                  <a:pt x="1549386" y="2021681"/>
                </a:cubicBezTo>
                <a:cubicBezTo>
                  <a:pt x="1543571" y="2132410"/>
                  <a:pt x="1485422" y="2128838"/>
                  <a:pt x="1421458" y="2110978"/>
                </a:cubicBezTo>
                <a:cubicBezTo>
                  <a:pt x="1345864" y="2089547"/>
                  <a:pt x="1270270" y="2046685"/>
                  <a:pt x="1188861" y="2085976"/>
                </a:cubicBezTo>
                <a:cubicBezTo>
                  <a:pt x="1302252" y="2139554"/>
                  <a:pt x="1427272" y="2143126"/>
                  <a:pt x="1531941" y="2218135"/>
                </a:cubicBezTo>
                <a:cubicBezTo>
                  <a:pt x="1142342" y="2232422"/>
                  <a:pt x="799262" y="1993106"/>
                  <a:pt x="421293" y="1900238"/>
                </a:cubicBezTo>
                <a:cubicBezTo>
                  <a:pt x="432923" y="1960960"/>
                  <a:pt x="464905" y="1975247"/>
                  <a:pt x="491072" y="1982391"/>
                </a:cubicBezTo>
                <a:cubicBezTo>
                  <a:pt x="630630" y="2028825"/>
                  <a:pt x="752743" y="2121695"/>
                  <a:pt x="880671" y="2200276"/>
                </a:cubicBezTo>
                <a:cubicBezTo>
                  <a:pt x="933005" y="2232422"/>
                  <a:pt x="970802" y="2268142"/>
                  <a:pt x="991154" y="2336007"/>
                </a:cubicBezTo>
                <a:cubicBezTo>
                  <a:pt x="1008599" y="2400300"/>
                  <a:pt x="1043489" y="2428875"/>
                  <a:pt x="1107453" y="2411016"/>
                </a:cubicBezTo>
                <a:cubicBezTo>
                  <a:pt x="1159787" y="2396729"/>
                  <a:pt x="1215029" y="2403873"/>
                  <a:pt x="1270270" y="2411016"/>
                </a:cubicBezTo>
                <a:cubicBezTo>
                  <a:pt x="1331326" y="2418160"/>
                  <a:pt x="1401105" y="2489597"/>
                  <a:pt x="1386568" y="2528889"/>
                </a:cubicBezTo>
                <a:cubicBezTo>
                  <a:pt x="1357494" y="2593182"/>
                  <a:pt x="1308067" y="2561035"/>
                  <a:pt x="1267362" y="2553891"/>
                </a:cubicBezTo>
                <a:cubicBezTo>
                  <a:pt x="1217936" y="2546748"/>
                  <a:pt x="1127805" y="2528889"/>
                  <a:pt x="1127805" y="2536032"/>
                </a:cubicBezTo>
                <a:cubicBezTo>
                  <a:pt x="1095822" y="2696766"/>
                  <a:pt x="1023136" y="2575322"/>
                  <a:pt x="970802" y="2575322"/>
                </a:cubicBezTo>
                <a:cubicBezTo>
                  <a:pt x="921375" y="2575322"/>
                  <a:pt x="871949" y="2557463"/>
                  <a:pt x="825429" y="2543176"/>
                </a:cubicBezTo>
                <a:cubicBezTo>
                  <a:pt x="764373" y="2525316"/>
                  <a:pt x="709132" y="2557463"/>
                  <a:pt x="650982" y="2564607"/>
                </a:cubicBezTo>
                <a:cubicBezTo>
                  <a:pt x="598648" y="2571751"/>
                  <a:pt x="627722" y="2664620"/>
                  <a:pt x="595740" y="2703909"/>
                </a:cubicBezTo>
                <a:cubicBezTo>
                  <a:pt x="589926" y="2714626"/>
                  <a:pt x="584111" y="2714626"/>
                  <a:pt x="578296" y="2714626"/>
                </a:cubicBezTo>
                <a:cubicBezTo>
                  <a:pt x="560851" y="2993232"/>
                  <a:pt x="255568" y="2925366"/>
                  <a:pt x="255568" y="2936081"/>
                </a:cubicBezTo>
                <a:cubicBezTo>
                  <a:pt x="229401" y="2953941"/>
                  <a:pt x="197419" y="2911079"/>
                  <a:pt x="165437" y="2953941"/>
                </a:cubicBezTo>
                <a:cubicBezTo>
                  <a:pt x="302087" y="3150394"/>
                  <a:pt x="511425" y="3196828"/>
                  <a:pt x="697501" y="3343275"/>
                </a:cubicBezTo>
                <a:cubicBezTo>
                  <a:pt x="543407" y="3393282"/>
                  <a:pt x="453275" y="3221832"/>
                  <a:pt x="339884" y="3243263"/>
                </a:cubicBezTo>
                <a:cubicBezTo>
                  <a:pt x="284643" y="3296842"/>
                  <a:pt x="450368" y="3382566"/>
                  <a:pt x="290458" y="3407569"/>
                </a:cubicBezTo>
                <a:cubicBezTo>
                  <a:pt x="360236" y="3454004"/>
                  <a:pt x="409664" y="3500439"/>
                  <a:pt x="459090" y="3554016"/>
                </a:cubicBezTo>
                <a:cubicBezTo>
                  <a:pt x="543407" y="3650457"/>
                  <a:pt x="560851" y="3714751"/>
                  <a:pt x="520147" y="3843338"/>
                </a:cubicBezTo>
                <a:cubicBezTo>
                  <a:pt x="493979" y="3929063"/>
                  <a:pt x="456183" y="4007645"/>
                  <a:pt x="491072" y="4107657"/>
                </a:cubicBezTo>
                <a:cubicBezTo>
                  <a:pt x="514332" y="4175522"/>
                  <a:pt x="505609" y="4221957"/>
                  <a:pt x="418386" y="4189810"/>
                </a:cubicBezTo>
                <a:cubicBezTo>
                  <a:pt x="325347" y="4157663"/>
                  <a:pt x="290458" y="4218386"/>
                  <a:pt x="313718" y="4339829"/>
                </a:cubicBezTo>
                <a:cubicBezTo>
                  <a:pt x="328254" y="4418410"/>
                  <a:pt x="313718" y="4443413"/>
                  <a:pt x="249753" y="4432698"/>
                </a:cubicBezTo>
                <a:cubicBezTo>
                  <a:pt x="179975" y="4421982"/>
                  <a:pt x="113103" y="4371976"/>
                  <a:pt x="25879" y="4396979"/>
                </a:cubicBezTo>
                <a:cubicBezTo>
                  <a:pt x="95658" y="4539854"/>
                  <a:pt x="243939" y="4496991"/>
                  <a:pt x="325347" y="4632722"/>
                </a:cubicBezTo>
                <a:cubicBezTo>
                  <a:pt x="229401" y="4632722"/>
                  <a:pt x="153807" y="4632722"/>
                  <a:pt x="84029" y="4604147"/>
                </a:cubicBezTo>
                <a:cubicBezTo>
                  <a:pt x="54954" y="4593433"/>
                  <a:pt x="22972" y="4579145"/>
                  <a:pt x="5527" y="4622007"/>
                </a:cubicBezTo>
                <a:cubicBezTo>
                  <a:pt x="-14826" y="4672014"/>
                  <a:pt x="25879" y="4689872"/>
                  <a:pt x="49139" y="4697016"/>
                </a:cubicBezTo>
                <a:cubicBezTo>
                  <a:pt x="116011" y="4722019"/>
                  <a:pt x="168344" y="4779170"/>
                  <a:pt x="226494" y="4825604"/>
                </a:cubicBezTo>
                <a:cubicBezTo>
                  <a:pt x="351514" y="4925616"/>
                  <a:pt x="488165" y="5011341"/>
                  <a:pt x="592833" y="5175647"/>
                </a:cubicBezTo>
                <a:cubicBezTo>
                  <a:pt x="461997" y="5132785"/>
                  <a:pt x="363144" y="5032772"/>
                  <a:pt x="238123" y="5014913"/>
                </a:cubicBezTo>
                <a:cubicBezTo>
                  <a:pt x="345700" y="5164932"/>
                  <a:pt x="482350" y="5264944"/>
                  <a:pt x="610278" y="5375673"/>
                </a:cubicBezTo>
                <a:cubicBezTo>
                  <a:pt x="648075" y="5407819"/>
                  <a:pt x="685872" y="5429250"/>
                  <a:pt x="691686" y="5497116"/>
                </a:cubicBezTo>
                <a:cubicBezTo>
                  <a:pt x="709132" y="5629276"/>
                  <a:pt x="755650" y="5736432"/>
                  <a:pt x="860319" y="5793582"/>
                </a:cubicBezTo>
                <a:cubicBezTo>
                  <a:pt x="860319" y="5793582"/>
                  <a:pt x="854504" y="5815013"/>
                  <a:pt x="851597" y="5825729"/>
                </a:cubicBezTo>
                <a:cubicBezTo>
                  <a:pt x="787632" y="5829301"/>
                  <a:pt x="738206" y="5750720"/>
                  <a:pt x="659704" y="5779295"/>
                </a:cubicBezTo>
                <a:cubicBezTo>
                  <a:pt x="738206" y="5886451"/>
                  <a:pt x="802169" y="5979319"/>
                  <a:pt x="909746" y="6029326"/>
                </a:cubicBezTo>
                <a:cubicBezTo>
                  <a:pt x="996969" y="6068616"/>
                  <a:pt x="1104545" y="6093620"/>
                  <a:pt x="1168509" y="6222207"/>
                </a:cubicBezTo>
                <a:cubicBezTo>
                  <a:pt x="1095822" y="6247210"/>
                  <a:pt x="1040581" y="6215063"/>
                  <a:pt x="985339" y="6193632"/>
                </a:cubicBezTo>
                <a:cubicBezTo>
                  <a:pt x="901023" y="6157913"/>
                  <a:pt x="816707" y="6118623"/>
                  <a:pt x="732391" y="6082904"/>
                </a:cubicBezTo>
                <a:cubicBezTo>
                  <a:pt x="700408" y="6068616"/>
                  <a:pt x="665519" y="6061472"/>
                  <a:pt x="645167" y="6125766"/>
                </a:cubicBezTo>
                <a:cubicBezTo>
                  <a:pt x="752743" y="6140053"/>
                  <a:pt x="816707" y="6225779"/>
                  <a:pt x="883579" y="6307932"/>
                </a:cubicBezTo>
                <a:cubicBezTo>
                  <a:pt x="921375" y="6354366"/>
                  <a:pt x="953358" y="6415088"/>
                  <a:pt x="1020229" y="6393657"/>
                </a:cubicBezTo>
                <a:cubicBezTo>
                  <a:pt x="1055118" y="6382942"/>
                  <a:pt x="1078378" y="6415088"/>
                  <a:pt x="1075471" y="6457950"/>
                </a:cubicBezTo>
                <a:cubicBezTo>
                  <a:pt x="1060933" y="6607970"/>
                  <a:pt x="1145250" y="6657976"/>
                  <a:pt x="1232473" y="6686551"/>
                </a:cubicBezTo>
                <a:cubicBezTo>
                  <a:pt x="1360401" y="6729413"/>
                  <a:pt x="1473792" y="6815138"/>
                  <a:pt x="1592997" y="6886576"/>
                </a:cubicBezTo>
                <a:lnTo>
                  <a:pt x="5511704" y="6886576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B7089E-8512-4AD3-AE5A-3C458ED09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13312"/>
            <a:ext cx="4038600" cy="5431376"/>
          </a:xfrm>
        </p:spPr>
        <p:txBody>
          <a:bodyPr>
            <a:normAutofit/>
          </a:bodyPr>
          <a:lstStyle/>
          <a:p>
            <a:r>
              <a:rPr lang="fr-FR" dirty="0"/>
              <a:t>Exemple 2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6CD205-1827-4FC6-A33A-72F9F6006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1" y="523875"/>
            <a:ext cx="6477000" cy="5620814"/>
          </a:xfrm>
        </p:spPr>
        <p:txBody>
          <a:bodyPr anchor="ctr">
            <a:normAutofit/>
          </a:bodyPr>
          <a:lstStyle/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quisition le 1 </a:t>
            </a:r>
            <a:r>
              <a:rPr lang="fr-FR" sz="2000" kern="16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ril </a:t>
            </a:r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, pour </a:t>
            </a:r>
            <a:r>
              <a:rPr lang="fr-FR" sz="2000" kern="16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000,00 € H.T, d’une immobilisation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d'utilisation 3 ans. 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xercice coïncide avec l’année civile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stion.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ésentez le plan d’amortissement.</a:t>
            </a:r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31190315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2C7AE2-AA15-4850-BBBB-A168A1B6B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1325563"/>
          </a:xfrm>
        </p:spPr>
        <p:txBody>
          <a:bodyPr>
            <a:normAutofit/>
          </a:bodyPr>
          <a:lstStyle/>
          <a:p>
            <a:r>
              <a:rPr lang="fr-FR" sz="5400"/>
              <a:t>Plan d’amortissement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77AC19AD-F523-4504-8864-039CD8BE60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4535175"/>
              </p:ext>
            </p:extLst>
          </p:nvPr>
        </p:nvGraphicFramePr>
        <p:xfrm>
          <a:off x="200025" y="2085974"/>
          <a:ext cx="11878765" cy="3888106"/>
        </p:xfrm>
        <a:graphic>
          <a:graphicData uri="http://schemas.openxmlformats.org/drawingml/2006/table">
            <a:tbl>
              <a:tblPr firstRow="1" bandRow="1"/>
              <a:tblGrid>
                <a:gridCol w="1910951">
                  <a:extLst>
                    <a:ext uri="{9D8B030D-6E8A-4147-A177-3AD203B41FA5}">
                      <a16:colId xmlns:a16="http://schemas.microsoft.com/office/drawing/2014/main" val="3617378616"/>
                    </a:ext>
                  </a:extLst>
                </a:gridCol>
                <a:gridCol w="2333406">
                  <a:extLst>
                    <a:ext uri="{9D8B030D-6E8A-4147-A177-3AD203B41FA5}">
                      <a16:colId xmlns:a16="http://schemas.microsoft.com/office/drawing/2014/main" val="2209619005"/>
                    </a:ext>
                  </a:extLst>
                </a:gridCol>
                <a:gridCol w="2278745">
                  <a:extLst>
                    <a:ext uri="{9D8B030D-6E8A-4147-A177-3AD203B41FA5}">
                      <a16:colId xmlns:a16="http://schemas.microsoft.com/office/drawing/2014/main" val="2119392953"/>
                    </a:ext>
                  </a:extLst>
                </a:gridCol>
                <a:gridCol w="1613546">
                  <a:extLst>
                    <a:ext uri="{9D8B030D-6E8A-4147-A177-3AD203B41FA5}">
                      <a16:colId xmlns:a16="http://schemas.microsoft.com/office/drawing/2014/main" val="1642900458"/>
                    </a:ext>
                  </a:extLst>
                </a:gridCol>
                <a:gridCol w="1841761">
                  <a:extLst>
                    <a:ext uri="{9D8B030D-6E8A-4147-A177-3AD203B41FA5}">
                      <a16:colId xmlns:a16="http://schemas.microsoft.com/office/drawing/2014/main" val="4074823274"/>
                    </a:ext>
                  </a:extLst>
                </a:gridCol>
                <a:gridCol w="1900356">
                  <a:extLst>
                    <a:ext uri="{9D8B030D-6E8A-4147-A177-3AD203B41FA5}">
                      <a16:colId xmlns:a16="http://schemas.microsoft.com/office/drawing/2014/main" val="3489293159"/>
                    </a:ext>
                  </a:extLst>
                </a:gridCol>
              </a:tblGrid>
              <a:tr h="903460">
                <a:tc>
                  <a:txBody>
                    <a:bodyPr/>
                    <a:lstStyle/>
                    <a:p>
                      <a:pPr algn="ctr"/>
                      <a:r>
                        <a:rPr lang="fr-FR" sz="2000" b="1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 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fr-FR" sz="2000" b="1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cumulées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b="1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  <a:endParaRPr lang="fr-FR" sz="20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8960882"/>
                  </a:ext>
                </a:extLst>
              </a:tr>
              <a:tr h="903460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/3 = 33,33 %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250,00</a:t>
                      </a:r>
                      <a:r>
                        <a:rPr lang="fr-FR" sz="2000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fr-FR" sz="22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250,00</a:t>
                      </a:r>
                      <a:endParaRPr lang="fr-FR" sz="22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fr-FR" sz="2200" b="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6 750,00</a:t>
                      </a: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1754418"/>
                  </a:ext>
                </a:extLst>
              </a:tr>
              <a:tr h="540462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33</a:t>
                      </a:r>
                      <a:r>
                        <a:rPr lang="fr-FR" sz="2000" u="sng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fr-FR" sz="2200" u="sng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 250,00</a:t>
                      </a:r>
                      <a:endParaRPr lang="fr-FR" sz="22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200" b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3 750,00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35749"/>
                  </a:ext>
                </a:extLst>
              </a:tr>
              <a:tr h="500131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33</a:t>
                      </a:r>
                      <a:r>
                        <a:rPr kumimoji="0" lang="fr-FR" sz="20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fr-FR" sz="22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00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8 250,00 </a:t>
                      </a:r>
                      <a:endParaRPr lang="fr-FR" sz="22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0,00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975873"/>
                  </a:ext>
                </a:extLst>
              </a:tr>
              <a:tr h="500131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  <a:endParaRPr lang="fr-FR" sz="2200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33</a:t>
                      </a:r>
                      <a:r>
                        <a:rPr kumimoji="0" lang="fr-FR" sz="2000" b="0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fr-FR" sz="2200" b="0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0,00</a:t>
                      </a:r>
                      <a:endParaRPr kumimoji="0" lang="fr-FR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b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lang="fr-FR" sz="22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fr-FR" sz="220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7973315"/>
                  </a:ext>
                </a:extLst>
              </a:tr>
              <a:tr h="540462">
                <a:tc>
                  <a:txBody>
                    <a:bodyPr/>
                    <a:lstStyle/>
                    <a:p>
                      <a:pPr algn="ctr"/>
                      <a:r>
                        <a:rPr lang="fr-FR" sz="200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</a:t>
                      </a:r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  <a:endParaRPr lang="fr-FR" sz="22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r-FR" sz="220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200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000,00</a:t>
                      </a: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2000" dirty="0">
                          <a:effectLst/>
                          <a:highlight>
                            <a:srgbClr val="FFFF00"/>
                          </a:highlight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fr-FR" sz="2200" dirty="0">
                        <a:effectLst/>
                        <a:highlight>
                          <a:srgbClr val="FFFF00"/>
                        </a:highlight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481" marR="8748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1332868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EC380ECC-17A3-4984-848C-FD65446A24E4}"/>
              </a:ext>
            </a:extLst>
          </p:cNvPr>
          <p:cNvSpPr txBox="1"/>
          <p:nvPr/>
        </p:nvSpPr>
        <p:spPr>
          <a:xfrm>
            <a:off x="391378" y="6165669"/>
            <a:ext cx="11199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highlight>
                  <a:srgbClr val="FFFF00"/>
                </a:highlight>
              </a:rPr>
              <a:t>*</a:t>
            </a:r>
            <a:r>
              <a:rPr lang="fr-FR" dirty="0"/>
              <a:t> = prorata année N (1 avril) soit 9 mois / 12 mois = 3 000,00 * 270 / 360 = 2 250,00</a:t>
            </a:r>
          </a:p>
        </p:txBody>
      </p:sp>
    </p:spTree>
    <p:extLst>
      <p:ext uri="{BB962C8B-B14F-4D97-AF65-F5344CB8AC3E}">
        <p14:creationId xmlns:p14="http://schemas.microsoft.com/office/powerpoint/2010/main" val="21152980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7718681-A12E-49D6-9925-DD7C6817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BD77573-9EF2-4C35-8285-A1CF6FBB0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5511704" cy="6858000"/>
          </a:xfrm>
          <a:custGeom>
            <a:avLst/>
            <a:gdLst>
              <a:gd name="connsiteX0" fmla="*/ 5511704 w 5511704"/>
              <a:gd name="connsiteY0" fmla="*/ 0 h 6886576"/>
              <a:gd name="connsiteX1" fmla="*/ 1008599 w 5511704"/>
              <a:gd name="connsiteY1" fmla="*/ 0 h 6886576"/>
              <a:gd name="connsiteX2" fmla="*/ 1310975 w 5511704"/>
              <a:gd name="connsiteY2" fmla="*/ 110728 h 6886576"/>
              <a:gd name="connsiteX3" fmla="*/ 1267362 w 5511704"/>
              <a:gd name="connsiteY3" fmla="*/ 135731 h 6886576"/>
              <a:gd name="connsiteX4" fmla="*/ 1005692 w 5511704"/>
              <a:gd name="connsiteY4" fmla="*/ 71437 h 6886576"/>
              <a:gd name="connsiteX5" fmla="*/ 953358 w 5511704"/>
              <a:gd name="connsiteY5" fmla="*/ 89297 h 6886576"/>
              <a:gd name="connsiteX6" fmla="*/ 979525 w 5511704"/>
              <a:gd name="connsiteY6" fmla="*/ 164307 h 6886576"/>
              <a:gd name="connsiteX7" fmla="*/ 1092915 w 5511704"/>
              <a:gd name="connsiteY7" fmla="*/ 192882 h 6886576"/>
              <a:gd name="connsiteX8" fmla="*/ 1270270 w 5511704"/>
              <a:gd name="connsiteY8" fmla="*/ 375047 h 6886576"/>
              <a:gd name="connsiteX9" fmla="*/ 1002784 w 5511704"/>
              <a:gd name="connsiteY9" fmla="*/ 353615 h 6886576"/>
              <a:gd name="connsiteX10" fmla="*/ 956265 w 5511704"/>
              <a:gd name="connsiteY10" fmla="*/ 396479 h 6886576"/>
              <a:gd name="connsiteX11" fmla="*/ 938820 w 5511704"/>
              <a:gd name="connsiteY11" fmla="*/ 453629 h 6886576"/>
              <a:gd name="connsiteX12" fmla="*/ 860319 w 5511704"/>
              <a:gd name="connsiteY12" fmla="*/ 360759 h 6886576"/>
              <a:gd name="connsiteX13" fmla="*/ 793447 w 5511704"/>
              <a:gd name="connsiteY13" fmla="*/ 335757 h 6886576"/>
              <a:gd name="connsiteX14" fmla="*/ 773095 w 5511704"/>
              <a:gd name="connsiteY14" fmla="*/ 417910 h 6886576"/>
              <a:gd name="connsiteX15" fmla="*/ 834151 w 5511704"/>
              <a:gd name="connsiteY15" fmla="*/ 507206 h 6886576"/>
              <a:gd name="connsiteX16" fmla="*/ 996969 w 5511704"/>
              <a:gd name="connsiteY16" fmla="*/ 560785 h 6886576"/>
              <a:gd name="connsiteX17" fmla="*/ 822522 w 5511704"/>
              <a:gd name="connsiteY17" fmla="*/ 560785 h 6886576"/>
              <a:gd name="connsiteX18" fmla="*/ 621908 w 5511704"/>
              <a:gd name="connsiteY18" fmla="*/ 525066 h 6886576"/>
              <a:gd name="connsiteX19" fmla="*/ 409664 w 5511704"/>
              <a:gd name="connsiteY19" fmla="*/ 535781 h 6886576"/>
              <a:gd name="connsiteX20" fmla="*/ 209049 w 5511704"/>
              <a:gd name="connsiteY20" fmla="*/ 464344 h 6886576"/>
              <a:gd name="connsiteX21" fmla="*/ 5527 w 5511704"/>
              <a:gd name="connsiteY21" fmla="*/ 467916 h 6886576"/>
              <a:gd name="connsiteX22" fmla="*/ 906838 w 5511704"/>
              <a:gd name="connsiteY22" fmla="*/ 914400 h 6886576"/>
              <a:gd name="connsiteX23" fmla="*/ 863226 w 5511704"/>
              <a:gd name="connsiteY23" fmla="*/ 925116 h 6886576"/>
              <a:gd name="connsiteX24" fmla="*/ 805077 w 5511704"/>
              <a:gd name="connsiteY24" fmla="*/ 953691 h 6886576"/>
              <a:gd name="connsiteX25" fmla="*/ 848689 w 5511704"/>
              <a:gd name="connsiteY25" fmla="*/ 1010841 h 6886576"/>
              <a:gd name="connsiteX26" fmla="*/ 1084193 w 5511704"/>
              <a:gd name="connsiteY26" fmla="*/ 1117997 h 6886576"/>
              <a:gd name="connsiteX27" fmla="*/ 1142342 w 5511704"/>
              <a:gd name="connsiteY27" fmla="*/ 1225153 h 6886576"/>
              <a:gd name="connsiteX28" fmla="*/ 1069655 w 5511704"/>
              <a:gd name="connsiteY28" fmla="*/ 1214438 h 6886576"/>
              <a:gd name="connsiteX29" fmla="*/ 1005692 w 5511704"/>
              <a:gd name="connsiteY29" fmla="*/ 1235869 h 6886576"/>
              <a:gd name="connsiteX30" fmla="*/ 1031858 w 5511704"/>
              <a:gd name="connsiteY30" fmla="*/ 1371600 h 6886576"/>
              <a:gd name="connsiteX31" fmla="*/ 1366216 w 5511704"/>
              <a:gd name="connsiteY31" fmla="*/ 1546622 h 6886576"/>
              <a:gd name="connsiteX32" fmla="*/ 1395290 w 5511704"/>
              <a:gd name="connsiteY32" fmla="*/ 1603772 h 6886576"/>
              <a:gd name="connsiteX33" fmla="*/ 1354586 w 5511704"/>
              <a:gd name="connsiteY33" fmla="*/ 1643063 h 6886576"/>
              <a:gd name="connsiteX34" fmla="*/ 1247011 w 5511704"/>
              <a:gd name="connsiteY34" fmla="*/ 1664494 h 6886576"/>
              <a:gd name="connsiteX35" fmla="*/ 1398198 w 5511704"/>
              <a:gd name="connsiteY35" fmla="*/ 1857375 h 6886576"/>
              <a:gd name="connsiteX36" fmla="*/ 1453440 w 5511704"/>
              <a:gd name="connsiteY36" fmla="*/ 1910954 h 6886576"/>
              <a:gd name="connsiteX37" fmla="*/ 1549386 w 5511704"/>
              <a:gd name="connsiteY37" fmla="*/ 1993106 h 6886576"/>
              <a:gd name="connsiteX38" fmla="*/ 1549386 w 5511704"/>
              <a:gd name="connsiteY38" fmla="*/ 2021681 h 6886576"/>
              <a:gd name="connsiteX39" fmla="*/ 1421458 w 5511704"/>
              <a:gd name="connsiteY39" fmla="*/ 2110978 h 6886576"/>
              <a:gd name="connsiteX40" fmla="*/ 1188861 w 5511704"/>
              <a:gd name="connsiteY40" fmla="*/ 2085976 h 6886576"/>
              <a:gd name="connsiteX41" fmla="*/ 1531941 w 5511704"/>
              <a:gd name="connsiteY41" fmla="*/ 2218135 h 6886576"/>
              <a:gd name="connsiteX42" fmla="*/ 421293 w 5511704"/>
              <a:gd name="connsiteY42" fmla="*/ 1900238 h 6886576"/>
              <a:gd name="connsiteX43" fmla="*/ 491072 w 5511704"/>
              <a:gd name="connsiteY43" fmla="*/ 1982391 h 6886576"/>
              <a:gd name="connsiteX44" fmla="*/ 880671 w 5511704"/>
              <a:gd name="connsiteY44" fmla="*/ 2200276 h 6886576"/>
              <a:gd name="connsiteX45" fmla="*/ 991154 w 5511704"/>
              <a:gd name="connsiteY45" fmla="*/ 2336007 h 6886576"/>
              <a:gd name="connsiteX46" fmla="*/ 1107453 w 5511704"/>
              <a:gd name="connsiteY46" fmla="*/ 2411016 h 6886576"/>
              <a:gd name="connsiteX47" fmla="*/ 1270270 w 5511704"/>
              <a:gd name="connsiteY47" fmla="*/ 2411016 h 6886576"/>
              <a:gd name="connsiteX48" fmla="*/ 1386568 w 5511704"/>
              <a:gd name="connsiteY48" fmla="*/ 2528889 h 6886576"/>
              <a:gd name="connsiteX49" fmla="*/ 1267362 w 5511704"/>
              <a:gd name="connsiteY49" fmla="*/ 2553891 h 6886576"/>
              <a:gd name="connsiteX50" fmla="*/ 1127805 w 5511704"/>
              <a:gd name="connsiteY50" fmla="*/ 2536032 h 6886576"/>
              <a:gd name="connsiteX51" fmla="*/ 970802 w 5511704"/>
              <a:gd name="connsiteY51" fmla="*/ 2575322 h 6886576"/>
              <a:gd name="connsiteX52" fmla="*/ 825429 w 5511704"/>
              <a:gd name="connsiteY52" fmla="*/ 2543176 h 6886576"/>
              <a:gd name="connsiteX53" fmla="*/ 650982 w 5511704"/>
              <a:gd name="connsiteY53" fmla="*/ 2564607 h 6886576"/>
              <a:gd name="connsiteX54" fmla="*/ 595740 w 5511704"/>
              <a:gd name="connsiteY54" fmla="*/ 2703909 h 6886576"/>
              <a:gd name="connsiteX55" fmla="*/ 578296 w 5511704"/>
              <a:gd name="connsiteY55" fmla="*/ 2714626 h 6886576"/>
              <a:gd name="connsiteX56" fmla="*/ 255568 w 5511704"/>
              <a:gd name="connsiteY56" fmla="*/ 2936081 h 6886576"/>
              <a:gd name="connsiteX57" fmla="*/ 165437 w 5511704"/>
              <a:gd name="connsiteY57" fmla="*/ 2953941 h 6886576"/>
              <a:gd name="connsiteX58" fmla="*/ 697501 w 5511704"/>
              <a:gd name="connsiteY58" fmla="*/ 3343275 h 6886576"/>
              <a:gd name="connsiteX59" fmla="*/ 339884 w 5511704"/>
              <a:gd name="connsiteY59" fmla="*/ 3243263 h 6886576"/>
              <a:gd name="connsiteX60" fmla="*/ 290458 w 5511704"/>
              <a:gd name="connsiteY60" fmla="*/ 3407569 h 6886576"/>
              <a:gd name="connsiteX61" fmla="*/ 459090 w 5511704"/>
              <a:gd name="connsiteY61" fmla="*/ 3554016 h 6886576"/>
              <a:gd name="connsiteX62" fmla="*/ 520147 w 5511704"/>
              <a:gd name="connsiteY62" fmla="*/ 3843338 h 6886576"/>
              <a:gd name="connsiteX63" fmla="*/ 491072 w 5511704"/>
              <a:gd name="connsiteY63" fmla="*/ 4107657 h 6886576"/>
              <a:gd name="connsiteX64" fmla="*/ 418386 w 5511704"/>
              <a:gd name="connsiteY64" fmla="*/ 4189810 h 6886576"/>
              <a:gd name="connsiteX65" fmla="*/ 313718 w 5511704"/>
              <a:gd name="connsiteY65" fmla="*/ 4339829 h 6886576"/>
              <a:gd name="connsiteX66" fmla="*/ 249753 w 5511704"/>
              <a:gd name="connsiteY66" fmla="*/ 4432698 h 6886576"/>
              <a:gd name="connsiteX67" fmla="*/ 25879 w 5511704"/>
              <a:gd name="connsiteY67" fmla="*/ 4396979 h 6886576"/>
              <a:gd name="connsiteX68" fmla="*/ 325347 w 5511704"/>
              <a:gd name="connsiteY68" fmla="*/ 4632722 h 6886576"/>
              <a:gd name="connsiteX69" fmla="*/ 84029 w 5511704"/>
              <a:gd name="connsiteY69" fmla="*/ 4604147 h 6886576"/>
              <a:gd name="connsiteX70" fmla="*/ 5527 w 5511704"/>
              <a:gd name="connsiteY70" fmla="*/ 4622007 h 6886576"/>
              <a:gd name="connsiteX71" fmla="*/ 49139 w 5511704"/>
              <a:gd name="connsiteY71" fmla="*/ 4697016 h 6886576"/>
              <a:gd name="connsiteX72" fmla="*/ 226494 w 5511704"/>
              <a:gd name="connsiteY72" fmla="*/ 4825604 h 6886576"/>
              <a:gd name="connsiteX73" fmla="*/ 592833 w 5511704"/>
              <a:gd name="connsiteY73" fmla="*/ 5175647 h 6886576"/>
              <a:gd name="connsiteX74" fmla="*/ 238123 w 5511704"/>
              <a:gd name="connsiteY74" fmla="*/ 5014913 h 6886576"/>
              <a:gd name="connsiteX75" fmla="*/ 610278 w 5511704"/>
              <a:gd name="connsiteY75" fmla="*/ 5375673 h 6886576"/>
              <a:gd name="connsiteX76" fmla="*/ 691686 w 5511704"/>
              <a:gd name="connsiteY76" fmla="*/ 5497116 h 6886576"/>
              <a:gd name="connsiteX77" fmla="*/ 860319 w 5511704"/>
              <a:gd name="connsiteY77" fmla="*/ 5793582 h 6886576"/>
              <a:gd name="connsiteX78" fmla="*/ 851597 w 5511704"/>
              <a:gd name="connsiteY78" fmla="*/ 5825729 h 6886576"/>
              <a:gd name="connsiteX79" fmla="*/ 659704 w 5511704"/>
              <a:gd name="connsiteY79" fmla="*/ 5779295 h 6886576"/>
              <a:gd name="connsiteX80" fmla="*/ 909746 w 5511704"/>
              <a:gd name="connsiteY80" fmla="*/ 6029326 h 6886576"/>
              <a:gd name="connsiteX81" fmla="*/ 1168509 w 5511704"/>
              <a:gd name="connsiteY81" fmla="*/ 6222207 h 6886576"/>
              <a:gd name="connsiteX82" fmla="*/ 985339 w 5511704"/>
              <a:gd name="connsiteY82" fmla="*/ 6193632 h 6886576"/>
              <a:gd name="connsiteX83" fmla="*/ 732391 w 5511704"/>
              <a:gd name="connsiteY83" fmla="*/ 6082904 h 6886576"/>
              <a:gd name="connsiteX84" fmla="*/ 645167 w 5511704"/>
              <a:gd name="connsiteY84" fmla="*/ 6125766 h 6886576"/>
              <a:gd name="connsiteX85" fmla="*/ 883579 w 5511704"/>
              <a:gd name="connsiteY85" fmla="*/ 6307932 h 6886576"/>
              <a:gd name="connsiteX86" fmla="*/ 1020229 w 5511704"/>
              <a:gd name="connsiteY86" fmla="*/ 6393657 h 6886576"/>
              <a:gd name="connsiteX87" fmla="*/ 1075471 w 5511704"/>
              <a:gd name="connsiteY87" fmla="*/ 6457950 h 6886576"/>
              <a:gd name="connsiteX88" fmla="*/ 1232473 w 5511704"/>
              <a:gd name="connsiteY88" fmla="*/ 6686551 h 6886576"/>
              <a:gd name="connsiteX89" fmla="*/ 1592997 w 5511704"/>
              <a:gd name="connsiteY89" fmla="*/ 6886576 h 6886576"/>
              <a:gd name="connsiteX90" fmla="*/ 5511704 w 5511704"/>
              <a:gd name="connsiteY90" fmla="*/ 6886576 h 6886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5511704" h="6886576">
                <a:moveTo>
                  <a:pt x="5511704" y="0"/>
                </a:moveTo>
                <a:lnTo>
                  <a:pt x="1008599" y="0"/>
                </a:lnTo>
                <a:cubicBezTo>
                  <a:pt x="1110360" y="35719"/>
                  <a:pt x="1209214" y="78581"/>
                  <a:pt x="1310975" y="110728"/>
                </a:cubicBezTo>
                <a:cubicBezTo>
                  <a:pt x="1296437" y="146447"/>
                  <a:pt x="1281900" y="139303"/>
                  <a:pt x="1267362" y="135731"/>
                </a:cubicBezTo>
                <a:cubicBezTo>
                  <a:pt x="1180139" y="121445"/>
                  <a:pt x="1090008" y="110728"/>
                  <a:pt x="1005692" y="71437"/>
                </a:cubicBezTo>
                <a:cubicBezTo>
                  <a:pt x="985339" y="64294"/>
                  <a:pt x="962080" y="64294"/>
                  <a:pt x="953358" y="89297"/>
                </a:cubicBezTo>
                <a:cubicBezTo>
                  <a:pt x="938820" y="125016"/>
                  <a:pt x="959172" y="146447"/>
                  <a:pt x="979525" y="164307"/>
                </a:cubicBezTo>
                <a:cubicBezTo>
                  <a:pt x="1014414" y="196453"/>
                  <a:pt x="1055118" y="189310"/>
                  <a:pt x="1092915" y="192882"/>
                </a:cubicBezTo>
                <a:cubicBezTo>
                  <a:pt x="1197583" y="210741"/>
                  <a:pt x="1247011" y="260747"/>
                  <a:pt x="1270270" y="375047"/>
                </a:cubicBezTo>
                <a:cubicBezTo>
                  <a:pt x="1180139" y="328613"/>
                  <a:pt x="1090008" y="385763"/>
                  <a:pt x="1002784" y="353615"/>
                </a:cubicBezTo>
                <a:cubicBezTo>
                  <a:pt x="979525" y="346472"/>
                  <a:pt x="944635" y="357188"/>
                  <a:pt x="956265" y="396479"/>
                </a:cubicBezTo>
                <a:cubicBezTo>
                  <a:pt x="967894" y="432198"/>
                  <a:pt x="1005692" y="460772"/>
                  <a:pt x="938820" y="453629"/>
                </a:cubicBezTo>
                <a:cubicBezTo>
                  <a:pt x="889393" y="450056"/>
                  <a:pt x="874856" y="407194"/>
                  <a:pt x="860319" y="360759"/>
                </a:cubicBezTo>
                <a:cubicBezTo>
                  <a:pt x="848689" y="335757"/>
                  <a:pt x="816707" y="321469"/>
                  <a:pt x="793447" y="335757"/>
                </a:cubicBezTo>
                <a:cubicBezTo>
                  <a:pt x="764373" y="350044"/>
                  <a:pt x="773095" y="389335"/>
                  <a:pt x="773095" y="417910"/>
                </a:cubicBezTo>
                <a:cubicBezTo>
                  <a:pt x="770187" y="471488"/>
                  <a:pt x="793447" y="496491"/>
                  <a:pt x="834151" y="507206"/>
                </a:cubicBezTo>
                <a:cubicBezTo>
                  <a:pt x="883579" y="521494"/>
                  <a:pt x="933005" y="539354"/>
                  <a:pt x="996969" y="560785"/>
                </a:cubicBezTo>
                <a:cubicBezTo>
                  <a:pt x="927190" y="596503"/>
                  <a:pt x="874856" y="589360"/>
                  <a:pt x="822522" y="560785"/>
                </a:cubicBezTo>
                <a:cubicBezTo>
                  <a:pt x="758558" y="528637"/>
                  <a:pt x="674242" y="485775"/>
                  <a:pt x="621908" y="525066"/>
                </a:cubicBezTo>
                <a:cubicBezTo>
                  <a:pt x="543407" y="582216"/>
                  <a:pt x="479443" y="546497"/>
                  <a:pt x="409664" y="535781"/>
                </a:cubicBezTo>
                <a:cubicBezTo>
                  <a:pt x="264290" y="514350"/>
                  <a:pt x="354422" y="482204"/>
                  <a:pt x="209049" y="464344"/>
                </a:cubicBezTo>
                <a:cubicBezTo>
                  <a:pt x="150900" y="457200"/>
                  <a:pt x="89843" y="428625"/>
                  <a:pt x="5527" y="467916"/>
                </a:cubicBezTo>
                <a:cubicBezTo>
                  <a:pt x="386404" y="675085"/>
                  <a:pt x="566666" y="660797"/>
                  <a:pt x="906838" y="914400"/>
                </a:cubicBezTo>
                <a:cubicBezTo>
                  <a:pt x="892301" y="939404"/>
                  <a:pt x="877764" y="928688"/>
                  <a:pt x="863226" y="925116"/>
                </a:cubicBezTo>
                <a:cubicBezTo>
                  <a:pt x="839967" y="921544"/>
                  <a:pt x="810892" y="907256"/>
                  <a:pt x="805077" y="953691"/>
                </a:cubicBezTo>
                <a:cubicBezTo>
                  <a:pt x="802169" y="989410"/>
                  <a:pt x="819615" y="1007269"/>
                  <a:pt x="848689" y="1010841"/>
                </a:cubicBezTo>
                <a:cubicBezTo>
                  <a:pt x="933005" y="1025129"/>
                  <a:pt x="1008599" y="1075135"/>
                  <a:pt x="1084193" y="1117997"/>
                </a:cubicBezTo>
                <a:cubicBezTo>
                  <a:pt x="1119082" y="1135857"/>
                  <a:pt x="1156879" y="1160860"/>
                  <a:pt x="1142342" y="1225153"/>
                </a:cubicBezTo>
                <a:cubicBezTo>
                  <a:pt x="1113268" y="1243013"/>
                  <a:pt x="1092915" y="1218009"/>
                  <a:pt x="1069655" y="1214438"/>
                </a:cubicBezTo>
                <a:cubicBezTo>
                  <a:pt x="1046396" y="1210866"/>
                  <a:pt x="991154" y="1225153"/>
                  <a:pt x="1005692" y="1235869"/>
                </a:cubicBezTo>
                <a:cubicBezTo>
                  <a:pt x="1072563" y="1275159"/>
                  <a:pt x="950450" y="1371600"/>
                  <a:pt x="1031858" y="1371600"/>
                </a:cubicBezTo>
                <a:cubicBezTo>
                  <a:pt x="1165601" y="1371600"/>
                  <a:pt x="1238288" y="1543050"/>
                  <a:pt x="1366216" y="1546622"/>
                </a:cubicBezTo>
                <a:cubicBezTo>
                  <a:pt x="1386568" y="1546622"/>
                  <a:pt x="1395290" y="1578770"/>
                  <a:pt x="1395290" y="1603772"/>
                </a:cubicBezTo>
                <a:cubicBezTo>
                  <a:pt x="1395290" y="1635920"/>
                  <a:pt x="1374939" y="1639491"/>
                  <a:pt x="1354586" y="1643063"/>
                </a:cubicBezTo>
                <a:cubicBezTo>
                  <a:pt x="1322604" y="1646635"/>
                  <a:pt x="1287715" y="1603772"/>
                  <a:pt x="1247011" y="1664494"/>
                </a:cubicBezTo>
                <a:cubicBezTo>
                  <a:pt x="1322604" y="1700213"/>
                  <a:pt x="1401105" y="1735932"/>
                  <a:pt x="1398198" y="1857375"/>
                </a:cubicBezTo>
                <a:cubicBezTo>
                  <a:pt x="1398198" y="1889523"/>
                  <a:pt x="1430180" y="1903810"/>
                  <a:pt x="1453440" y="1910954"/>
                </a:cubicBezTo>
                <a:cubicBezTo>
                  <a:pt x="1494144" y="1925241"/>
                  <a:pt x="1526126" y="1946673"/>
                  <a:pt x="1549386" y="1993106"/>
                </a:cubicBezTo>
                <a:cubicBezTo>
                  <a:pt x="1549386" y="2003822"/>
                  <a:pt x="1549386" y="2010966"/>
                  <a:pt x="1549386" y="2021681"/>
                </a:cubicBezTo>
                <a:cubicBezTo>
                  <a:pt x="1543571" y="2132410"/>
                  <a:pt x="1485422" y="2128838"/>
                  <a:pt x="1421458" y="2110978"/>
                </a:cubicBezTo>
                <a:cubicBezTo>
                  <a:pt x="1345864" y="2089547"/>
                  <a:pt x="1270270" y="2046685"/>
                  <a:pt x="1188861" y="2085976"/>
                </a:cubicBezTo>
                <a:cubicBezTo>
                  <a:pt x="1302252" y="2139554"/>
                  <a:pt x="1427272" y="2143126"/>
                  <a:pt x="1531941" y="2218135"/>
                </a:cubicBezTo>
                <a:cubicBezTo>
                  <a:pt x="1142342" y="2232422"/>
                  <a:pt x="799262" y="1993106"/>
                  <a:pt x="421293" y="1900238"/>
                </a:cubicBezTo>
                <a:cubicBezTo>
                  <a:pt x="432923" y="1960960"/>
                  <a:pt x="464905" y="1975247"/>
                  <a:pt x="491072" y="1982391"/>
                </a:cubicBezTo>
                <a:cubicBezTo>
                  <a:pt x="630630" y="2028825"/>
                  <a:pt x="752743" y="2121695"/>
                  <a:pt x="880671" y="2200276"/>
                </a:cubicBezTo>
                <a:cubicBezTo>
                  <a:pt x="933005" y="2232422"/>
                  <a:pt x="970802" y="2268142"/>
                  <a:pt x="991154" y="2336007"/>
                </a:cubicBezTo>
                <a:cubicBezTo>
                  <a:pt x="1008599" y="2400300"/>
                  <a:pt x="1043489" y="2428875"/>
                  <a:pt x="1107453" y="2411016"/>
                </a:cubicBezTo>
                <a:cubicBezTo>
                  <a:pt x="1159787" y="2396729"/>
                  <a:pt x="1215029" y="2403873"/>
                  <a:pt x="1270270" y="2411016"/>
                </a:cubicBezTo>
                <a:cubicBezTo>
                  <a:pt x="1331326" y="2418160"/>
                  <a:pt x="1401105" y="2489597"/>
                  <a:pt x="1386568" y="2528889"/>
                </a:cubicBezTo>
                <a:cubicBezTo>
                  <a:pt x="1357494" y="2593182"/>
                  <a:pt x="1308067" y="2561035"/>
                  <a:pt x="1267362" y="2553891"/>
                </a:cubicBezTo>
                <a:cubicBezTo>
                  <a:pt x="1217936" y="2546748"/>
                  <a:pt x="1127805" y="2528889"/>
                  <a:pt x="1127805" y="2536032"/>
                </a:cubicBezTo>
                <a:cubicBezTo>
                  <a:pt x="1095822" y="2696766"/>
                  <a:pt x="1023136" y="2575322"/>
                  <a:pt x="970802" y="2575322"/>
                </a:cubicBezTo>
                <a:cubicBezTo>
                  <a:pt x="921375" y="2575322"/>
                  <a:pt x="871949" y="2557463"/>
                  <a:pt x="825429" y="2543176"/>
                </a:cubicBezTo>
                <a:cubicBezTo>
                  <a:pt x="764373" y="2525316"/>
                  <a:pt x="709132" y="2557463"/>
                  <a:pt x="650982" y="2564607"/>
                </a:cubicBezTo>
                <a:cubicBezTo>
                  <a:pt x="598648" y="2571751"/>
                  <a:pt x="627722" y="2664620"/>
                  <a:pt x="595740" y="2703909"/>
                </a:cubicBezTo>
                <a:cubicBezTo>
                  <a:pt x="589926" y="2714626"/>
                  <a:pt x="584111" y="2714626"/>
                  <a:pt x="578296" y="2714626"/>
                </a:cubicBezTo>
                <a:cubicBezTo>
                  <a:pt x="560851" y="2993232"/>
                  <a:pt x="255568" y="2925366"/>
                  <a:pt x="255568" y="2936081"/>
                </a:cubicBezTo>
                <a:cubicBezTo>
                  <a:pt x="229401" y="2953941"/>
                  <a:pt x="197419" y="2911079"/>
                  <a:pt x="165437" y="2953941"/>
                </a:cubicBezTo>
                <a:cubicBezTo>
                  <a:pt x="302087" y="3150394"/>
                  <a:pt x="511425" y="3196828"/>
                  <a:pt x="697501" y="3343275"/>
                </a:cubicBezTo>
                <a:cubicBezTo>
                  <a:pt x="543407" y="3393282"/>
                  <a:pt x="453275" y="3221832"/>
                  <a:pt x="339884" y="3243263"/>
                </a:cubicBezTo>
                <a:cubicBezTo>
                  <a:pt x="284643" y="3296842"/>
                  <a:pt x="450368" y="3382566"/>
                  <a:pt x="290458" y="3407569"/>
                </a:cubicBezTo>
                <a:cubicBezTo>
                  <a:pt x="360236" y="3454004"/>
                  <a:pt x="409664" y="3500439"/>
                  <a:pt x="459090" y="3554016"/>
                </a:cubicBezTo>
                <a:cubicBezTo>
                  <a:pt x="543407" y="3650457"/>
                  <a:pt x="560851" y="3714751"/>
                  <a:pt x="520147" y="3843338"/>
                </a:cubicBezTo>
                <a:cubicBezTo>
                  <a:pt x="493979" y="3929063"/>
                  <a:pt x="456183" y="4007645"/>
                  <a:pt x="491072" y="4107657"/>
                </a:cubicBezTo>
                <a:cubicBezTo>
                  <a:pt x="514332" y="4175522"/>
                  <a:pt x="505609" y="4221957"/>
                  <a:pt x="418386" y="4189810"/>
                </a:cubicBezTo>
                <a:cubicBezTo>
                  <a:pt x="325347" y="4157663"/>
                  <a:pt x="290458" y="4218386"/>
                  <a:pt x="313718" y="4339829"/>
                </a:cubicBezTo>
                <a:cubicBezTo>
                  <a:pt x="328254" y="4418410"/>
                  <a:pt x="313718" y="4443413"/>
                  <a:pt x="249753" y="4432698"/>
                </a:cubicBezTo>
                <a:cubicBezTo>
                  <a:pt x="179975" y="4421982"/>
                  <a:pt x="113103" y="4371976"/>
                  <a:pt x="25879" y="4396979"/>
                </a:cubicBezTo>
                <a:cubicBezTo>
                  <a:pt x="95658" y="4539854"/>
                  <a:pt x="243939" y="4496991"/>
                  <a:pt x="325347" y="4632722"/>
                </a:cubicBezTo>
                <a:cubicBezTo>
                  <a:pt x="229401" y="4632722"/>
                  <a:pt x="153807" y="4632722"/>
                  <a:pt x="84029" y="4604147"/>
                </a:cubicBezTo>
                <a:cubicBezTo>
                  <a:pt x="54954" y="4593433"/>
                  <a:pt x="22972" y="4579145"/>
                  <a:pt x="5527" y="4622007"/>
                </a:cubicBezTo>
                <a:cubicBezTo>
                  <a:pt x="-14826" y="4672014"/>
                  <a:pt x="25879" y="4689872"/>
                  <a:pt x="49139" y="4697016"/>
                </a:cubicBezTo>
                <a:cubicBezTo>
                  <a:pt x="116011" y="4722019"/>
                  <a:pt x="168344" y="4779170"/>
                  <a:pt x="226494" y="4825604"/>
                </a:cubicBezTo>
                <a:cubicBezTo>
                  <a:pt x="351514" y="4925616"/>
                  <a:pt x="488165" y="5011341"/>
                  <a:pt x="592833" y="5175647"/>
                </a:cubicBezTo>
                <a:cubicBezTo>
                  <a:pt x="461997" y="5132785"/>
                  <a:pt x="363144" y="5032772"/>
                  <a:pt x="238123" y="5014913"/>
                </a:cubicBezTo>
                <a:cubicBezTo>
                  <a:pt x="345700" y="5164932"/>
                  <a:pt x="482350" y="5264944"/>
                  <a:pt x="610278" y="5375673"/>
                </a:cubicBezTo>
                <a:cubicBezTo>
                  <a:pt x="648075" y="5407819"/>
                  <a:pt x="685872" y="5429250"/>
                  <a:pt x="691686" y="5497116"/>
                </a:cubicBezTo>
                <a:cubicBezTo>
                  <a:pt x="709132" y="5629276"/>
                  <a:pt x="755650" y="5736432"/>
                  <a:pt x="860319" y="5793582"/>
                </a:cubicBezTo>
                <a:cubicBezTo>
                  <a:pt x="860319" y="5793582"/>
                  <a:pt x="854504" y="5815013"/>
                  <a:pt x="851597" y="5825729"/>
                </a:cubicBezTo>
                <a:cubicBezTo>
                  <a:pt x="787632" y="5829301"/>
                  <a:pt x="738206" y="5750720"/>
                  <a:pt x="659704" y="5779295"/>
                </a:cubicBezTo>
                <a:cubicBezTo>
                  <a:pt x="738206" y="5886451"/>
                  <a:pt x="802169" y="5979319"/>
                  <a:pt x="909746" y="6029326"/>
                </a:cubicBezTo>
                <a:cubicBezTo>
                  <a:pt x="996969" y="6068616"/>
                  <a:pt x="1104545" y="6093620"/>
                  <a:pt x="1168509" y="6222207"/>
                </a:cubicBezTo>
                <a:cubicBezTo>
                  <a:pt x="1095822" y="6247210"/>
                  <a:pt x="1040581" y="6215063"/>
                  <a:pt x="985339" y="6193632"/>
                </a:cubicBezTo>
                <a:cubicBezTo>
                  <a:pt x="901023" y="6157913"/>
                  <a:pt x="816707" y="6118623"/>
                  <a:pt x="732391" y="6082904"/>
                </a:cubicBezTo>
                <a:cubicBezTo>
                  <a:pt x="700408" y="6068616"/>
                  <a:pt x="665519" y="6061472"/>
                  <a:pt x="645167" y="6125766"/>
                </a:cubicBezTo>
                <a:cubicBezTo>
                  <a:pt x="752743" y="6140053"/>
                  <a:pt x="816707" y="6225779"/>
                  <a:pt x="883579" y="6307932"/>
                </a:cubicBezTo>
                <a:cubicBezTo>
                  <a:pt x="921375" y="6354366"/>
                  <a:pt x="953358" y="6415088"/>
                  <a:pt x="1020229" y="6393657"/>
                </a:cubicBezTo>
                <a:cubicBezTo>
                  <a:pt x="1055118" y="6382942"/>
                  <a:pt x="1078378" y="6415088"/>
                  <a:pt x="1075471" y="6457950"/>
                </a:cubicBezTo>
                <a:cubicBezTo>
                  <a:pt x="1060933" y="6607970"/>
                  <a:pt x="1145250" y="6657976"/>
                  <a:pt x="1232473" y="6686551"/>
                </a:cubicBezTo>
                <a:cubicBezTo>
                  <a:pt x="1360401" y="6729413"/>
                  <a:pt x="1473792" y="6815138"/>
                  <a:pt x="1592997" y="6886576"/>
                </a:cubicBezTo>
                <a:lnTo>
                  <a:pt x="5511704" y="6886576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B7089E-8512-4AD3-AE5A-3C458ED09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13312"/>
            <a:ext cx="4038600" cy="5431376"/>
          </a:xfrm>
        </p:spPr>
        <p:txBody>
          <a:bodyPr>
            <a:normAutofit/>
          </a:bodyPr>
          <a:lstStyle/>
          <a:p>
            <a:r>
              <a:rPr lang="fr-FR" dirty="0"/>
              <a:t>Exemple 3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6CD205-1827-4FC6-A33A-72F9F6006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1" y="523875"/>
            <a:ext cx="6477000" cy="5620814"/>
          </a:xfrm>
        </p:spPr>
        <p:txBody>
          <a:bodyPr anchor="ctr">
            <a:normAutofit/>
          </a:bodyPr>
          <a:lstStyle/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quisition le 19 août N, pour 145 000,00 € H.T, d’une immobilisation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ée d'utilisation 8 ans. 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kern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xercice coïncide avec l’année civile.</a:t>
            </a:r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0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stion.</a:t>
            </a:r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fr-FR" sz="2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ésentez le plan d’amortissement.</a:t>
            </a:r>
          </a:p>
          <a:p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57680138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8238B8-C0BE-40C6-8944-21A2A8E27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héma</a:t>
            </a:r>
          </a:p>
        </p:txBody>
      </p:sp>
      <p:sp>
        <p:nvSpPr>
          <p:cNvPr id="10" name="Zone de texte 34">
            <a:extLst>
              <a:ext uri="{FF2B5EF4-FFF2-40B4-BE49-F238E27FC236}">
                <a16:creationId xmlns:a16="http://schemas.microsoft.com/office/drawing/2014/main" id="{9B6A9EDE-AD4F-43CD-BAB5-9CE78292A2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5675" y="3595688"/>
            <a:ext cx="1057275" cy="3159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aphicFrame>
        <p:nvGraphicFramePr>
          <p:cNvPr id="11" name="Objet 10">
            <a:extLst>
              <a:ext uri="{FF2B5EF4-FFF2-40B4-BE49-F238E27FC236}">
                <a16:creationId xmlns:a16="http://schemas.microsoft.com/office/drawing/2014/main" id="{5EB7C54B-7185-407F-8361-9934F3CED23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34627029"/>
              </p:ext>
            </p:extLst>
          </p:nvPr>
        </p:nvGraphicFramePr>
        <p:xfrm>
          <a:off x="663330" y="2441196"/>
          <a:ext cx="11034071" cy="23656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491879" imgH="1179813" progId="Word.Document.12">
                  <p:embed/>
                </p:oleObj>
              </mc:Choice>
              <mc:Fallback>
                <p:oleObj name="Document" r:id="rId2" imgW="6491879" imgH="1179813" progId="Word.Document.12">
                  <p:embed/>
                  <p:pic>
                    <p:nvPicPr>
                      <p:cNvPr id="11" name="Objet 10">
                        <a:extLst>
                          <a:ext uri="{FF2B5EF4-FFF2-40B4-BE49-F238E27FC236}">
                            <a16:creationId xmlns:a16="http://schemas.microsoft.com/office/drawing/2014/main" id="{5EB7C54B-7185-407F-8361-9934F3CED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63330" y="2441196"/>
                        <a:ext cx="11034071" cy="23656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62541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B7089E-8512-4AD3-AE5A-3C458ED09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68" y="365125"/>
            <a:ext cx="9440332" cy="1325563"/>
          </a:xfrm>
        </p:spPr>
        <p:txBody>
          <a:bodyPr>
            <a:normAutofit/>
          </a:bodyPr>
          <a:lstStyle/>
          <a:p>
            <a:r>
              <a:rPr lang="fr-FR" sz="5400"/>
              <a:t>Exemple 3</a:t>
            </a:r>
          </a:p>
        </p:txBody>
      </p:sp>
      <p:pic>
        <p:nvPicPr>
          <p:cNvPr id="7" name="Graphic 6" descr="Calculatrice">
            <a:extLst>
              <a:ext uri="{FF2B5EF4-FFF2-40B4-BE49-F238E27FC236}">
                <a16:creationId xmlns:a16="http://schemas.microsoft.com/office/drawing/2014/main" id="{DBE97E1C-4021-44E9-B192-13F55E4DF1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70706"/>
            <a:ext cx="914400" cy="914400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6CD205-1827-4FC6-A33A-72F9F6006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125" y="1609724"/>
            <a:ext cx="11782425" cy="5133975"/>
          </a:xfrm>
        </p:spPr>
        <p:txBody>
          <a:bodyPr>
            <a:normAutofit/>
          </a:bodyPr>
          <a:lstStyle/>
          <a:p>
            <a:pPr indent="449580"/>
            <a:r>
              <a:rPr lang="fr-FR" sz="1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2</a:t>
            </a:r>
            <a:r>
              <a:rPr lang="fr-FR" sz="16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 - Calcul de la 1</a:t>
            </a:r>
            <a:r>
              <a:rPr lang="fr-FR" sz="16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nuité</a:t>
            </a:r>
            <a:endParaRPr lang="fr-FR" sz="16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fr-FR" sz="16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nuité = 145 000,00 * 1/8 * (132/360) 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1</a:t>
            </a:r>
            <a:r>
              <a:rPr lang="fr-FR" sz="1600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re</a:t>
            </a:r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nuité = 6 645,83</a:t>
            </a:r>
          </a:p>
          <a:p>
            <a:endParaRPr lang="fr-FR" sz="1600" dirty="0"/>
          </a:p>
          <a:p>
            <a:pPr indent="449580"/>
            <a:r>
              <a:rPr lang="fr-FR" sz="1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3</a:t>
            </a:r>
            <a:r>
              <a:rPr lang="fr-FR" sz="1600" b="1" baseline="300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ème</a:t>
            </a:r>
            <a:r>
              <a:rPr lang="fr-FR" sz="1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étape - Calcul de la dernière annuité</a:t>
            </a:r>
            <a:endParaRPr lang="fr-FR" sz="16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nière annuité = (145 000,00 * 1/8) – 6 645,83 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Dernière annuité = 11 479,17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Ou (ce qui revient au même) :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	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nière annuité= (145 000,00 * 1/8) [(360 – 132)/360] 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fr-FR" sz="1600" dirty="0"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rnière annuité = 11 479,17</a:t>
            </a:r>
          </a:p>
          <a:p>
            <a:r>
              <a:rPr lang="fr-FR" sz="1600" dirty="0" err="1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ification</a:t>
            </a:r>
            <a:r>
              <a:rPr lang="fr-FR" sz="1600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: = 6 645,83 + 11 479,17 =  18 125 soit une anuité complète (145 000*1/8)</a:t>
            </a:r>
            <a:endParaRPr lang="fr-FR" sz="1600" dirty="0">
              <a:effectLst/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16029785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32C7AE2-AA15-4850-BBBB-A168A1B6B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lan d’amortissement</a:t>
            </a:r>
          </a:p>
        </p:txBody>
      </p:sp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77AC19AD-F523-4504-8864-039CD8BE60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9975502"/>
              </p:ext>
            </p:extLst>
          </p:nvPr>
        </p:nvGraphicFramePr>
        <p:xfrm>
          <a:off x="209551" y="1733550"/>
          <a:ext cx="11744323" cy="4829176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</a:tblPr>
              <a:tblGrid>
                <a:gridCol w="2287847">
                  <a:extLst>
                    <a:ext uri="{9D8B030D-6E8A-4147-A177-3AD203B41FA5}">
                      <a16:colId xmlns:a16="http://schemas.microsoft.com/office/drawing/2014/main" val="3617378616"/>
                    </a:ext>
                  </a:extLst>
                </a:gridCol>
                <a:gridCol w="2219232">
                  <a:extLst>
                    <a:ext uri="{9D8B030D-6E8A-4147-A177-3AD203B41FA5}">
                      <a16:colId xmlns:a16="http://schemas.microsoft.com/office/drawing/2014/main" val="2209619005"/>
                    </a:ext>
                  </a:extLst>
                </a:gridCol>
                <a:gridCol w="906936">
                  <a:extLst>
                    <a:ext uri="{9D8B030D-6E8A-4147-A177-3AD203B41FA5}">
                      <a16:colId xmlns:a16="http://schemas.microsoft.com/office/drawing/2014/main" val="2119392953"/>
                    </a:ext>
                  </a:extLst>
                </a:gridCol>
                <a:gridCol w="1812587">
                  <a:extLst>
                    <a:ext uri="{9D8B030D-6E8A-4147-A177-3AD203B41FA5}">
                      <a16:colId xmlns:a16="http://schemas.microsoft.com/office/drawing/2014/main" val="1642900458"/>
                    </a:ext>
                  </a:extLst>
                </a:gridCol>
                <a:gridCol w="2480883">
                  <a:extLst>
                    <a:ext uri="{9D8B030D-6E8A-4147-A177-3AD203B41FA5}">
                      <a16:colId xmlns:a16="http://schemas.microsoft.com/office/drawing/2014/main" val="4074823274"/>
                    </a:ext>
                  </a:extLst>
                </a:gridCol>
                <a:gridCol w="2036838">
                  <a:extLst>
                    <a:ext uri="{9D8B030D-6E8A-4147-A177-3AD203B41FA5}">
                      <a16:colId xmlns:a16="http://schemas.microsoft.com/office/drawing/2014/main" val="3489293159"/>
                    </a:ext>
                  </a:extLst>
                </a:gridCol>
              </a:tblGrid>
              <a:tr h="809704"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 d’inventaire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 de calcul 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ux</a:t>
                      </a:r>
                    </a:p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nuités cumulées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.N.C</a:t>
                      </a:r>
                    </a:p>
                  </a:txBody>
                  <a:tcPr marL="61246" marR="42532" marT="17499" marB="131242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960882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645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645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8 354,17 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754418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1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 770,83 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0 229,17 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35749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2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895,83 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2 104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975873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3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1 020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3 979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973315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4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9 145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 854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255934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5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 270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7 729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562731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6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5 395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 604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558386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7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 125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3 520,83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479,17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308225"/>
                  </a:ext>
                </a:extLst>
              </a:tr>
              <a:tr h="446608"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/12/N+8</a:t>
                      </a:r>
                    </a:p>
                  </a:txBody>
                  <a:tcPr marL="61246" marR="42532" marT="17499" marB="131242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25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b="1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 479,17 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5 000,0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100" cap="none" spc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61246" marR="42532" marT="17499" marB="131242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1332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24764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0" name="Rectangle 90">
            <a:extLst>
              <a:ext uri="{FF2B5EF4-FFF2-40B4-BE49-F238E27FC236}">
                <a16:creationId xmlns:a16="http://schemas.microsoft.com/office/drawing/2014/main" id="{AC5782D3-6CED-43A7-BE35-09C48F809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Freeform 6">
            <a:extLst>
              <a:ext uri="{FF2B5EF4-FFF2-40B4-BE49-F238E27FC236}">
                <a16:creationId xmlns:a16="http://schemas.microsoft.com/office/drawing/2014/main" id="{6721F593-ECD2-4B5B-AAE4-0866A4CDC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989586" y="1070835"/>
            <a:ext cx="687754" cy="5710965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7">
            <a:extLst>
              <a:ext uri="{FF2B5EF4-FFF2-40B4-BE49-F238E27FC236}">
                <a16:creationId xmlns:a16="http://schemas.microsoft.com/office/drawing/2014/main" id="{71DEE99F-D18C-4025-BA3F-CEBF5258E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988949" y="803186"/>
            <a:ext cx="409371" cy="5521414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8">
            <a:extLst>
              <a:ext uri="{FF2B5EF4-FFF2-40B4-BE49-F238E27FC236}">
                <a16:creationId xmlns:a16="http://schemas.microsoft.com/office/drawing/2014/main" id="{976FA5D9-3A7C-4FA7-9BA8-1905D703F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7513372" y="804101"/>
            <a:ext cx="3880238" cy="52516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5104" y="1213968"/>
            <a:ext cx="3220127" cy="171510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600">
                <a:solidFill>
                  <a:srgbClr val="FFFFFF"/>
                </a:solidFill>
              </a:rPr>
            </a:br>
            <a:endParaRPr lang="en-US" sz="3600">
              <a:solidFill>
                <a:srgbClr val="FFFFFF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1589" r="13506" b="2"/>
          <a:stretch/>
        </p:blipFill>
        <p:spPr>
          <a:xfrm>
            <a:off x="804101" y="804101"/>
            <a:ext cx="6730556" cy="524979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7835105" y="3072208"/>
            <a:ext cx="3264916" cy="2660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FFFFFF"/>
                </a:solidFill>
              </a:rPr>
              <a:t>Amortissement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rgbClr val="FFFFFF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FFFFFF"/>
                </a:solidFill>
              </a:rPr>
              <a:t>Cas pratique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rgbClr val="FFFFFF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FFFFFF"/>
                </a:solidFill>
              </a:rPr>
              <a:t>Amort easy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rgbClr val="FFFFFF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99" name="Rectangle 8">
            <a:extLst>
              <a:ext uri="{FF2B5EF4-FFF2-40B4-BE49-F238E27FC236}">
                <a16:creationId xmlns:a16="http://schemas.microsoft.com/office/drawing/2014/main" id="{4652D57C-331F-43B8-9C07-69FBA9C027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671258" y="1530154"/>
            <a:ext cx="520741" cy="52516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668523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5B1DCD-B3C8-40F9-9C66-CBE3643CB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DA89B12-3BB0-4836-8A3D-CB7B8CD660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974474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>
            <a:extLst>
              <a:ext uri="{FF2B5EF4-FFF2-40B4-BE49-F238E27FC236}">
                <a16:creationId xmlns:a16="http://schemas.microsoft.com/office/drawing/2014/main" id="{16C5FA50-8D52-4617-AF91-5C7B1C835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5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3496" y="618681"/>
            <a:ext cx="2613872" cy="4794567"/>
          </a:xfrm>
          <a:prstGeom prst="ellipse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Merci</a:t>
            </a:r>
          </a:p>
        </p:txBody>
      </p:sp>
      <p:sp>
        <p:nvSpPr>
          <p:cNvPr id="90" name="Rounded Rectangle 9">
            <a:extLst>
              <a:ext uri="{FF2B5EF4-FFF2-40B4-BE49-F238E27FC236}">
                <a16:creationId xmlns:a16="http://schemas.microsoft.com/office/drawing/2014/main" id="{E223798C-12AD-4B0C-A50C-D676347D67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3354" y="484632"/>
            <a:ext cx="8129016" cy="572414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l="5579" r="5579"/>
          <a:stretch/>
        </p:blipFill>
        <p:spPr>
          <a:xfrm>
            <a:off x="976251" y="942538"/>
            <a:ext cx="7163222" cy="4808332"/>
          </a:xfrm>
          <a:prstGeom prst="rect">
            <a:avLst/>
          </a:prstGeom>
          <a:effectLst/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5313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91A997B-66BC-4EE8-AE60-BABCAC888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15912"/>
          </a:xfrm>
        </p:spPr>
        <p:txBody>
          <a:bodyPr>
            <a:normAutofit fontScale="90000"/>
          </a:bodyPr>
          <a:lstStyle/>
          <a:p>
            <a:r>
              <a:rPr lang="fr-FR" dirty="0"/>
              <a:t>RRR1 - Corrigé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4AABC54-2180-4F73-9948-B6849C5F71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286" y="5275537"/>
            <a:ext cx="10515600" cy="1373741"/>
          </a:xfrm>
        </p:spPr>
        <p:txBody>
          <a:bodyPr>
            <a:normAutofit fontScale="85000" lnSpcReduction="20000"/>
          </a:bodyPr>
          <a:lstStyle/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cernant la facture d’avoir, elle concerne les 60 % restants soit 324 bouteilles (27 cartons)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e qui représente un brut de 4 950 * 60 % = 2 970 € HT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fr-FR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t donc un rabais de 2 970 * 20 % = 594 € HT</a:t>
            </a:r>
            <a:endParaRPr lang="fr-FR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fr-FR" dirty="0"/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862D9251-85CF-41C3-A48F-6E8A80B66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393692"/>
              </p:ext>
            </p:extLst>
          </p:nvPr>
        </p:nvGraphicFramePr>
        <p:xfrm>
          <a:off x="606286" y="914400"/>
          <a:ext cx="10416209" cy="3955770"/>
        </p:xfrm>
        <a:graphic>
          <a:graphicData uri="http://schemas.openxmlformats.org/drawingml/2006/table">
            <a:tbl>
              <a:tblPr/>
              <a:tblGrid>
                <a:gridCol w="6105897">
                  <a:extLst>
                    <a:ext uri="{9D8B030D-6E8A-4147-A177-3AD203B41FA5}">
                      <a16:colId xmlns:a16="http://schemas.microsoft.com/office/drawing/2014/main" val="3247257220"/>
                    </a:ext>
                  </a:extLst>
                </a:gridCol>
                <a:gridCol w="4310312">
                  <a:extLst>
                    <a:ext uri="{9D8B030D-6E8A-4147-A177-3AD203B41FA5}">
                      <a16:colId xmlns:a16="http://schemas.microsoft.com/office/drawing/2014/main" val="1156990957"/>
                    </a:ext>
                  </a:extLst>
                </a:gridCol>
              </a:tblGrid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SAINTLOUP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314761"/>
                  </a:ext>
                </a:extLst>
              </a:tr>
              <a:tr h="395577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te : 23/01/N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1844447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été DIX-VIN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1340519"/>
                  </a:ext>
                </a:extLst>
              </a:tr>
              <a:tr h="395577">
                <a:tc gridSpan="2">
                  <a:txBody>
                    <a:bodyPr/>
                    <a:lstStyle/>
                    <a:p>
                      <a:pPr algn="ct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75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507677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6065352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544156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 H.T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972003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T.V.A 20  %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118,80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0002754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9078372"/>
                  </a:ext>
                </a:extLst>
              </a:tr>
              <a:tr h="395577"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fr-FR" sz="2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 votre faveur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tabLst>
                          <a:tab pos="228600" algn="l"/>
                        </a:tabLst>
                      </a:pPr>
                      <a:r>
                        <a:rPr lang="fr-FR" sz="2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0405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8287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0CFB80B-948C-4DCD-B125-E01D1DE2D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hez ST LOUP                          Chez DIX VINS</a:t>
            </a:r>
          </a:p>
        </p:txBody>
      </p:sp>
      <p:graphicFrame>
        <p:nvGraphicFramePr>
          <p:cNvPr id="9" name="Espace réservé du contenu 8">
            <a:extLst>
              <a:ext uri="{FF2B5EF4-FFF2-40B4-BE49-F238E27FC236}">
                <a16:creationId xmlns:a16="http://schemas.microsoft.com/office/drawing/2014/main" id="{1E747829-FA88-4678-8487-2DB53727F5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7551638"/>
              </p:ext>
            </p:extLst>
          </p:nvPr>
        </p:nvGraphicFramePr>
        <p:xfrm>
          <a:off x="149638" y="2102325"/>
          <a:ext cx="6079117" cy="2346957"/>
        </p:xfrm>
        <a:graphic>
          <a:graphicData uri="http://schemas.openxmlformats.org/drawingml/2006/table">
            <a:tbl>
              <a:tblPr/>
              <a:tblGrid>
                <a:gridCol w="868334">
                  <a:extLst>
                    <a:ext uri="{9D8B030D-6E8A-4147-A177-3AD203B41FA5}">
                      <a16:colId xmlns:a16="http://schemas.microsoft.com/office/drawing/2014/main" val="4230665547"/>
                    </a:ext>
                  </a:extLst>
                </a:gridCol>
                <a:gridCol w="890734">
                  <a:extLst>
                    <a:ext uri="{9D8B030D-6E8A-4147-A177-3AD203B41FA5}">
                      <a16:colId xmlns:a16="http://schemas.microsoft.com/office/drawing/2014/main" val="1347895173"/>
                    </a:ext>
                  </a:extLst>
                </a:gridCol>
                <a:gridCol w="1253748">
                  <a:extLst>
                    <a:ext uri="{9D8B030D-6E8A-4147-A177-3AD203B41FA5}">
                      <a16:colId xmlns:a16="http://schemas.microsoft.com/office/drawing/2014/main" val="2098929571"/>
                    </a:ext>
                  </a:extLst>
                </a:gridCol>
                <a:gridCol w="72589">
                  <a:extLst>
                    <a:ext uri="{9D8B030D-6E8A-4147-A177-3AD203B41FA5}">
                      <a16:colId xmlns:a16="http://schemas.microsoft.com/office/drawing/2014/main" val="1664922160"/>
                    </a:ext>
                  </a:extLst>
                </a:gridCol>
                <a:gridCol w="1191819">
                  <a:extLst>
                    <a:ext uri="{9D8B030D-6E8A-4147-A177-3AD203B41FA5}">
                      <a16:colId xmlns:a16="http://schemas.microsoft.com/office/drawing/2014/main" val="3057593382"/>
                    </a:ext>
                  </a:extLst>
                </a:gridCol>
                <a:gridCol w="316895">
                  <a:extLst>
                    <a:ext uri="{9D8B030D-6E8A-4147-A177-3AD203B41FA5}">
                      <a16:colId xmlns:a16="http://schemas.microsoft.com/office/drawing/2014/main" val="1854090856"/>
                    </a:ext>
                  </a:extLst>
                </a:gridCol>
                <a:gridCol w="742499">
                  <a:extLst>
                    <a:ext uri="{9D8B030D-6E8A-4147-A177-3AD203B41FA5}">
                      <a16:colId xmlns:a16="http://schemas.microsoft.com/office/drawing/2014/main" val="973298524"/>
                    </a:ext>
                  </a:extLst>
                </a:gridCol>
                <a:gridCol w="742499">
                  <a:extLst>
                    <a:ext uri="{9D8B030D-6E8A-4147-A177-3AD203B41FA5}">
                      <a16:colId xmlns:a16="http://schemas.microsoft.com/office/drawing/2014/main" val="1070290769"/>
                    </a:ext>
                  </a:extLst>
                </a:gridCol>
              </a:tblGrid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0501242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665705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821326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678973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1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85268"/>
                  </a:ext>
                </a:extLst>
              </a:tr>
              <a:tr h="521546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7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Vente de marchandis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743703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20F15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1216036"/>
                  </a:ext>
                </a:extLst>
              </a:tr>
              <a:tr h="260773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399416"/>
                  </a:ext>
                </a:extLst>
              </a:tr>
            </a:tbl>
          </a:graphicData>
        </a:graphic>
      </p:graphicFrame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53ACA630-92D7-4FD8-BDC2-8C5BCED2D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329442"/>
              </p:ext>
            </p:extLst>
          </p:nvPr>
        </p:nvGraphicFramePr>
        <p:xfrm>
          <a:off x="70125" y="4662644"/>
          <a:ext cx="6025874" cy="1688457"/>
        </p:xfrm>
        <a:graphic>
          <a:graphicData uri="http://schemas.openxmlformats.org/drawingml/2006/table">
            <a:tbl>
              <a:tblPr/>
              <a:tblGrid>
                <a:gridCol w="889880">
                  <a:extLst>
                    <a:ext uri="{9D8B030D-6E8A-4147-A177-3AD203B41FA5}">
                      <a16:colId xmlns:a16="http://schemas.microsoft.com/office/drawing/2014/main" val="321466716"/>
                    </a:ext>
                  </a:extLst>
                </a:gridCol>
                <a:gridCol w="889880">
                  <a:extLst>
                    <a:ext uri="{9D8B030D-6E8A-4147-A177-3AD203B41FA5}">
                      <a16:colId xmlns:a16="http://schemas.microsoft.com/office/drawing/2014/main" val="2044548150"/>
                    </a:ext>
                  </a:extLst>
                </a:gridCol>
                <a:gridCol w="1340395">
                  <a:extLst>
                    <a:ext uri="{9D8B030D-6E8A-4147-A177-3AD203B41FA5}">
                      <a16:colId xmlns:a16="http://schemas.microsoft.com/office/drawing/2014/main" val="1981046562"/>
                    </a:ext>
                  </a:extLst>
                </a:gridCol>
                <a:gridCol w="1213832">
                  <a:extLst>
                    <a:ext uri="{9D8B030D-6E8A-4147-A177-3AD203B41FA5}">
                      <a16:colId xmlns:a16="http://schemas.microsoft.com/office/drawing/2014/main" val="3343697284"/>
                    </a:ext>
                  </a:extLst>
                </a:gridCol>
                <a:gridCol w="209847">
                  <a:extLst>
                    <a:ext uri="{9D8B030D-6E8A-4147-A177-3AD203B41FA5}">
                      <a16:colId xmlns:a16="http://schemas.microsoft.com/office/drawing/2014/main" val="3976682366"/>
                    </a:ext>
                  </a:extLst>
                </a:gridCol>
                <a:gridCol w="734462">
                  <a:extLst>
                    <a:ext uri="{9D8B030D-6E8A-4147-A177-3AD203B41FA5}">
                      <a16:colId xmlns:a16="http://schemas.microsoft.com/office/drawing/2014/main" val="110034224"/>
                    </a:ext>
                  </a:extLst>
                </a:gridCol>
                <a:gridCol w="747578">
                  <a:extLst>
                    <a:ext uri="{9D8B030D-6E8A-4147-A177-3AD203B41FA5}">
                      <a16:colId xmlns:a16="http://schemas.microsoft.com/office/drawing/2014/main" val="3673764092"/>
                    </a:ext>
                  </a:extLst>
                </a:gridCol>
              </a:tblGrid>
              <a:tr h="24120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40497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781003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nte de marchandise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3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0324114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6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849784"/>
                  </a:ext>
                </a:extLst>
              </a:tr>
              <a:tr h="482417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3858226"/>
                  </a:ext>
                </a:extLst>
              </a:tr>
              <a:tr h="24120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400036"/>
                  </a:ext>
                </a:extLst>
              </a:tr>
            </a:tbl>
          </a:graphicData>
        </a:graphic>
      </p:graphicFrame>
      <p:sp>
        <p:nvSpPr>
          <p:cNvPr id="11" name="Rectangle 2">
            <a:extLst>
              <a:ext uri="{FF2B5EF4-FFF2-40B4-BE49-F238E27FC236}">
                <a16:creationId xmlns:a16="http://schemas.microsoft.com/office/drawing/2014/main" id="{C42D3E78-840F-4ECE-9036-7C20CD6B8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54965" y="134112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hez SAINTLOUP</a:t>
            </a:r>
            <a:endParaRPr kumimoji="0" lang="fr-FR" altLang="fr-FR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B371AD77-3665-4473-867C-0A5F047F02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48354"/>
              </p:ext>
            </p:extLst>
          </p:nvPr>
        </p:nvGraphicFramePr>
        <p:xfrm>
          <a:off x="6292021" y="2102325"/>
          <a:ext cx="5899979" cy="2346960"/>
        </p:xfrm>
        <a:graphic>
          <a:graphicData uri="http://schemas.openxmlformats.org/drawingml/2006/table">
            <a:tbl>
              <a:tblPr/>
              <a:tblGrid>
                <a:gridCol w="839886">
                  <a:extLst>
                    <a:ext uri="{9D8B030D-6E8A-4147-A177-3AD203B41FA5}">
                      <a16:colId xmlns:a16="http://schemas.microsoft.com/office/drawing/2014/main" val="3581822002"/>
                    </a:ext>
                  </a:extLst>
                </a:gridCol>
                <a:gridCol w="862877">
                  <a:extLst>
                    <a:ext uri="{9D8B030D-6E8A-4147-A177-3AD203B41FA5}">
                      <a16:colId xmlns:a16="http://schemas.microsoft.com/office/drawing/2014/main" val="446234207"/>
                    </a:ext>
                  </a:extLst>
                </a:gridCol>
                <a:gridCol w="1217992">
                  <a:extLst>
                    <a:ext uri="{9D8B030D-6E8A-4147-A177-3AD203B41FA5}">
                      <a16:colId xmlns:a16="http://schemas.microsoft.com/office/drawing/2014/main" val="3464989384"/>
                    </a:ext>
                  </a:extLst>
                </a:gridCol>
                <a:gridCol w="76991">
                  <a:extLst>
                    <a:ext uri="{9D8B030D-6E8A-4147-A177-3AD203B41FA5}">
                      <a16:colId xmlns:a16="http://schemas.microsoft.com/office/drawing/2014/main" val="3598231975"/>
                    </a:ext>
                  </a:extLst>
                </a:gridCol>
                <a:gridCol w="1157316">
                  <a:extLst>
                    <a:ext uri="{9D8B030D-6E8A-4147-A177-3AD203B41FA5}">
                      <a16:colId xmlns:a16="http://schemas.microsoft.com/office/drawing/2014/main" val="2552270902"/>
                    </a:ext>
                  </a:extLst>
                </a:gridCol>
                <a:gridCol w="306574">
                  <a:extLst>
                    <a:ext uri="{9D8B030D-6E8A-4147-A177-3AD203B41FA5}">
                      <a16:colId xmlns:a16="http://schemas.microsoft.com/office/drawing/2014/main" val="3016604502"/>
                    </a:ext>
                  </a:extLst>
                </a:gridCol>
                <a:gridCol w="713423">
                  <a:extLst>
                    <a:ext uri="{9D8B030D-6E8A-4147-A177-3AD203B41FA5}">
                      <a16:colId xmlns:a16="http://schemas.microsoft.com/office/drawing/2014/main" val="1391897057"/>
                    </a:ext>
                  </a:extLst>
                </a:gridCol>
                <a:gridCol w="724920">
                  <a:extLst>
                    <a:ext uri="{9D8B030D-6E8A-4147-A177-3AD203B41FA5}">
                      <a16:colId xmlns:a16="http://schemas.microsoft.com/office/drawing/2014/main" val="387291972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62548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0228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ats de marchandis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207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410322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VA Déductible sur biens et servic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1,5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619926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Fournisseur SAINTLOUP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 544,1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89149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Banqu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4,9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21948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20F15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40085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244910"/>
                  </a:ext>
                </a:extLst>
              </a:tr>
            </a:tbl>
          </a:graphicData>
        </a:graphic>
      </p:graphicFrame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7F4B5347-7984-4237-AA38-6B1089BED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09570"/>
              </p:ext>
            </p:extLst>
          </p:nvPr>
        </p:nvGraphicFramePr>
        <p:xfrm>
          <a:off x="6228754" y="4662645"/>
          <a:ext cx="5751529" cy="1706880"/>
        </p:xfrm>
        <a:graphic>
          <a:graphicData uri="http://schemas.openxmlformats.org/drawingml/2006/table">
            <a:tbl>
              <a:tblPr/>
              <a:tblGrid>
                <a:gridCol w="821995">
                  <a:extLst>
                    <a:ext uri="{9D8B030D-6E8A-4147-A177-3AD203B41FA5}">
                      <a16:colId xmlns:a16="http://schemas.microsoft.com/office/drawing/2014/main" val="3166479279"/>
                    </a:ext>
                  </a:extLst>
                </a:gridCol>
                <a:gridCol w="841938">
                  <a:extLst>
                    <a:ext uri="{9D8B030D-6E8A-4147-A177-3AD203B41FA5}">
                      <a16:colId xmlns:a16="http://schemas.microsoft.com/office/drawing/2014/main" val="1310589009"/>
                    </a:ext>
                  </a:extLst>
                </a:gridCol>
                <a:gridCol w="1186566">
                  <a:extLst>
                    <a:ext uri="{9D8B030D-6E8A-4147-A177-3AD203B41FA5}">
                      <a16:colId xmlns:a16="http://schemas.microsoft.com/office/drawing/2014/main" val="174716583"/>
                    </a:ext>
                  </a:extLst>
                </a:gridCol>
                <a:gridCol w="69850">
                  <a:extLst>
                    <a:ext uri="{9D8B030D-6E8A-4147-A177-3AD203B41FA5}">
                      <a16:colId xmlns:a16="http://schemas.microsoft.com/office/drawing/2014/main" val="2089451430"/>
                    </a:ext>
                  </a:extLst>
                </a:gridCol>
                <a:gridCol w="1127986">
                  <a:extLst>
                    <a:ext uri="{9D8B030D-6E8A-4147-A177-3AD203B41FA5}">
                      <a16:colId xmlns:a16="http://schemas.microsoft.com/office/drawing/2014/main" val="687431697"/>
                    </a:ext>
                  </a:extLst>
                </a:gridCol>
                <a:gridCol w="299134">
                  <a:extLst>
                    <a:ext uri="{9D8B030D-6E8A-4147-A177-3AD203B41FA5}">
                      <a16:colId xmlns:a16="http://schemas.microsoft.com/office/drawing/2014/main" val="601400147"/>
                    </a:ext>
                  </a:extLst>
                </a:gridCol>
                <a:gridCol w="696733">
                  <a:extLst>
                    <a:ext uri="{9D8B030D-6E8A-4147-A177-3AD203B41FA5}">
                      <a16:colId xmlns:a16="http://schemas.microsoft.com/office/drawing/2014/main" val="270108623"/>
                    </a:ext>
                  </a:extLst>
                </a:gridCol>
                <a:gridCol w="707327">
                  <a:extLst>
                    <a:ext uri="{9D8B030D-6E8A-4147-A177-3AD203B41FA5}">
                      <a16:colId xmlns:a16="http://schemas.microsoft.com/office/drawing/2014/main" val="3034486015"/>
                    </a:ext>
                  </a:extLst>
                </a:gridCol>
              </a:tblGrid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132988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528218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 SAINTLOUP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723562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Achats de </a:t>
                      </a:r>
                      <a:r>
                        <a:rPr lang="fr-FR" sz="1400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ch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3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762251"/>
                  </a:ext>
                </a:extLst>
              </a:tr>
              <a:tr h="40869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4566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VA Déductible sur B 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6,6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072024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N°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215237"/>
                  </a:ext>
                </a:extLst>
              </a:tr>
              <a:tr h="204348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98603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3650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164A463-B201-4E44-BC57-FF454DE7C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765" y="204181"/>
            <a:ext cx="10766469" cy="889124"/>
          </a:xfrm>
          <a:prstGeom prst="rect">
            <a:avLst/>
          </a:prstGeom>
        </p:spPr>
      </p:pic>
      <p:graphicFrame>
        <p:nvGraphicFramePr>
          <p:cNvPr id="4" name="Espace réservé du contenu 3">
            <a:extLst>
              <a:ext uri="{FF2B5EF4-FFF2-40B4-BE49-F238E27FC236}">
                <a16:creationId xmlns:a16="http://schemas.microsoft.com/office/drawing/2014/main" id="{DDEC20EB-3E45-48F3-BF9C-FB014B1CDC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3571795"/>
              </p:ext>
            </p:extLst>
          </p:nvPr>
        </p:nvGraphicFramePr>
        <p:xfrm>
          <a:off x="5935183" y="1728333"/>
          <a:ext cx="5858010" cy="1813472"/>
        </p:xfrm>
        <a:graphic>
          <a:graphicData uri="http://schemas.openxmlformats.org/drawingml/2006/table">
            <a:tbl>
              <a:tblPr/>
              <a:tblGrid>
                <a:gridCol w="861023">
                  <a:extLst>
                    <a:ext uri="{9D8B030D-6E8A-4147-A177-3AD203B41FA5}">
                      <a16:colId xmlns:a16="http://schemas.microsoft.com/office/drawing/2014/main" val="3528309171"/>
                    </a:ext>
                  </a:extLst>
                </a:gridCol>
                <a:gridCol w="862931">
                  <a:extLst>
                    <a:ext uri="{9D8B030D-6E8A-4147-A177-3AD203B41FA5}">
                      <a16:colId xmlns:a16="http://schemas.microsoft.com/office/drawing/2014/main" val="209563378"/>
                    </a:ext>
                  </a:extLst>
                </a:gridCol>
                <a:gridCol w="1297894">
                  <a:extLst>
                    <a:ext uri="{9D8B030D-6E8A-4147-A177-3AD203B41FA5}">
                      <a16:colId xmlns:a16="http://schemas.microsoft.com/office/drawing/2014/main" val="3313392832"/>
                    </a:ext>
                  </a:extLst>
                </a:gridCol>
                <a:gridCol w="1175163">
                  <a:extLst>
                    <a:ext uri="{9D8B030D-6E8A-4147-A177-3AD203B41FA5}">
                      <a16:colId xmlns:a16="http://schemas.microsoft.com/office/drawing/2014/main" val="325264630"/>
                    </a:ext>
                  </a:extLst>
                </a:gridCol>
                <a:gridCol w="227020">
                  <a:extLst>
                    <a:ext uri="{9D8B030D-6E8A-4147-A177-3AD203B41FA5}">
                      <a16:colId xmlns:a16="http://schemas.microsoft.com/office/drawing/2014/main" val="2361198814"/>
                    </a:ext>
                  </a:extLst>
                </a:gridCol>
                <a:gridCol w="713492">
                  <a:extLst>
                    <a:ext uri="{9D8B030D-6E8A-4147-A177-3AD203B41FA5}">
                      <a16:colId xmlns:a16="http://schemas.microsoft.com/office/drawing/2014/main" val="1935997682"/>
                    </a:ext>
                  </a:extLst>
                </a:gridCol>
                <a:gridCol w="720487">
                  <a:extLst>
                    <a:ext uri="{9D8B030D-6E8A-4147-A177-3AD203B41FA5}">
                      <a16:colId xmlns:a16="http://schemas.microsoft.com/office/drawing/2014/main" val="2146430090"/>
                    </a:ext>
                  </a:extLst>
                </a:gridCol>
              </a:tblGrid>
              <a:tr h="22668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518559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/01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233522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 SAINTLOUP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9913703"/>
                  </a:ext>
                </a:extLst>
              </a:tr>
              <a:tr h="453368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66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TVA Déductible sur biens et service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4881353"/>
                  </a:ext>
                </a:extLst>
              </a:tr>
              <a:tr h="453368"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609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RRR Obtenu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8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6307942"/>
                  </a:ext>
                </a:extLst>
              </a:tr>
              <a:tr h="22668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oir N° 20A60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101348"/>
                  </a:ext>
                </a:extLst>
              </a:tr>
            </a:tbl>
          </a:graphicData>
        </a:graphic>
      </p:graphicFrame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003A891D-18A8-4F79-8035-4AF184220B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14601"/>
              </p:ext>
            </p:extLst>
          </p:nvPr>
        </p:nvGraphicFramePr>
        <p:xfrm>
          <a:off x="5935183" y="4075043"/>
          <a:ext cx="6256817" cy="2417830"/>
        </p:xfrm>
        <a:graphic>
          <a:graphicData uri="http://schemas.openxmlformats.org/drawingml/2006/table">
            <a:tbl>
              <a:tblPr/>
              <a:tblGrid>
                <a:gridCol w="918566">
                  <a:extLst>
                    <a:ext uri="{9D8B030D-6E8A-4147-A177-3AD203B41FA5}">
                      <a16:colId xmlns:a16="http://schemas.microsoft.com/office/drawing/2014/main" val="3279777692"/>
                    </a:ext>
                  </a:extLst>
                </a:gridCol>
                <a:gridCol w="918566">
                  <a:extLst>
                    <a:ext uri="{9D8B030D-6E8A-4147-A177-3AD203B41FA5}">
                      <a16:colId xmlns:a16="http://schemas.microsoft.com/office/drawing/2014/main" val="4257459473"/>
                    </a:ext>
                  </a:extLst>
                </a:gridCol>
                <a:gridCol w="1317942">
                  <a:extLst>
                    <a:ext uri="{9D8B030D-6E8A-4147-A177-3AD203B41FA5}">
                      <a16:colId xmlns:a16="http://schemas.microsoft.com/office/drawing/2014/main" val="3091071803"/>
                    </a:ext>
                  </a:extLst>
                </a:gridCol>
                <a:gridCol w="74606">
                  <a:extLst>
                    <a:ext uri="{9D8B030D-6E8A-4147-A177-3AD203B41FA5}">
                      <a16:colId xmlns:a16="http://schemas.microsoft.com/office/drawing/2014/main" val="3648534532"/>
                    </a:ext>
                  </a:extLst>
                </a:gridCol>
                <a:gridCol w="1252958">
                  <a:extLst>
                    <a:ext uri="{9D8B030D-6E8A-4147-A177-3AD203B41FA5}">
                      <a16:colId xmlns:a16="http://schemas.microsoft.com/office/drawing/2014/main" val="1588271041"/>
                    </a:ext>
                  </a:extLst>
                </a:gridCol>
                <a:gridCol w="235565">
                  <a:extLst>
                    <a:ext uri="{9D8B030D-6E8A-4147-A177-3AD203B41FA5}">
                      <a16:colId xmlns:a16="http://schemas.microsoft.com/office/drawing/2014/main" val="1283483106"/>
                    </a:ext>
                  </a:extLst>
                </a:gridCol>
                <a:gridCol w="766938">
                  <a:extLst>
                    <a:ext uri="{9D8B030D-6E8A-4147-A177-3AD203B41FA5}">
                      <a16:colId xmlns:a16="http://schemas.microsoft.com/office/drawing/2014/main" val="4186390966"/>
                    </a:ext>
                  </a:extLst>
                </a:gridCol>
                <a:gridCol w="771676">
                  <a:extLst>
                    <a:ext uri="{9D8B030D-6E8A-4147-A177-3AD203B41FA5}">
                      <a16:colId xmlns:a16="http://schemas.microsoft.com/office/drawing/2014/main" val="1029276861"/>
                    </a:ext>
                  </a:extLst>
                </a:gridCol>
              </a:tblGrid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636064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02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8787649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nisseurs SAINTLOUP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970067"/>
                  </a:ext>
                </a:extLst>
              </a:tr>
              <a:tr h="690810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Banque (4528,95 - 2012,87 - 710,42)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6251783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lement du solde 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0331672"/>
                  </a:ext>
                </a:extLst>
              </a:tr>
              <a:tr h="3454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806990"/>
                  </a:ext>
                </a:extLst>
              </a:tr>
            </a:tbl>
          </a:graphicData>
        </a:graphic>
      </p:graphicFrame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37B8EB3-3F8D-4B5F-80F8-A5F6DC2614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718338"/>
              </p:ext>
            </p:extLst>
          </p:nvPr>
        </p:nvGraphicFramePr>
        <p:xfrm>
          <a:off x="246266" y="1728333"/>
          <a:ext cx="5518429" cy="2108169"/>
        </p:xfrm>
        <a:graphic>
          <a:graphicData uri="http://schemas.openxmlformats.org/drawingml/2006/table">
            <a:tbl>
              <a:tblPr/>
              <a:tblGrid>
                <a:gridCol w="483216">
                  <a:extLst>
                    <a:ext uri="{9D8B030D-6E8A-4147-A177-3AD203B41FA5}">
                      <a16:colId xmlns:a16="http://schemas.microsoft.com/office/drawing/2014/main" val="399757990"/>
                    </a:ext>
                  </a:extLst>
                </a:gridCol>
                <a:gridCol w="861049">
                  <a:extLst>
                    <a:ext uri="{9D8B030D-6E8A-4147-A177-3AD203B41FA5}">
                      <a16:colId xmlns:a16="http://schemas.microsoft.com/office/drawing/2014/main" val="3314532417"/>
                    </a:ext>
                  </a:extLst>
                </a:gridCol>
                <a:gridCol w="1213875">
                  <a:extLst>
                    <a:ext uri="{9D8B030D-6E8A-4147-A177-3AD203B41FA5}">
                      <a16:colId xmlns:a16="http://schemas.microsoft.com/office/drawing/2014/main" val="2755327201"/>
                    </a:ext>
                  </a:extLst>
                </a:gridCol>
                <a:gridCol w="70170">
                  <a:extLst>
                    <a:ext uri="{9D8B030D-6E8A-4147-A177-3AD203B41FA5}">
                      <a16:colId xmlns:a16="http://schemas.microsoft.com/office/drawing/2014/main" val="3427743722"/>
                    </a:ext>
                  </a:extLst>
                </a:gridCol>
                <a:gridCol w="1153373">
                  <a:extLst>
                    <a:ext uri="{9D8B030D-6E8A-4147-A177-3AD203B41FA5}">
                      <a16:colId xmlns:a16="http://schemas.microsoft.com/office/drawing/2014/main" val="700201794"/>
                    </a:ext>
                  </a:extLst>
                </a:gridCol>
                <a:gridCol w="306334">
                  <a:extLst>
                    <a:ext uri="{9D8B030D-6E8A-4147-A177-3AD203B41FA5}">
                      <a16:colId xmlns:a16="http://schemas.microsoft.com/office/drawing/2014/main" val="469222902"/>
                    </a:ext>
                  </a:extLst>
                </a:gridCol>
                <a:gridCol w="715206">
                  <a:extLst>
                    <a:ext uri="{9D8B030D-6E8A-4147-A177-3AD203B41FA5}">
                      <a16:colId xmlns:a16="http://schemas.microsoft.com/office/drawing/2014/main" val="4044556528"/>
                    </a:ext>
                  </a:extLst>
                </a:gridCol>
                <a:gridCol w="715206">
                  <a:extLst>
                    <a:ext uri="{9D8B030D-6E8A-4147-A177-3AD203B41FA5}">
                      <a16:colId xmlns:a16="http://schemas.microsoft.com/office/drawing/2014/main" val="2572641239"/>
                    </a:ext>
                  </a:extLst>
                </a:gridCol>
              </a:tblGrid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151079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/01/N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829464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r>
                        <a:rPr lang="fr-FR" sz="1400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RR Accordé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4,0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2888303"/>
                  </a:ext>
                </a:extLst>
              </a:tr>
              <a:tr h="468482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57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.V.A collectée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8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7006189"/>
                  </a:ext>
                </a:extLst>
              </a:tr>
              <a:tr h="468482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2,8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4301752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cture N°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8469273"/>
                  </a:ext>
                </a:extLst>
              </a:tr>
              <a:tr h="234241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943462"/>
                  </a:ext>
                </a:extLst>
              </a:tr>
            </a:tbl>
          </a:graphicData>
        </a:graphic>
      </p:graphicFrame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63F81F5-128B-4897-B5F8-13508D013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661252"/>
              </p:ext>
            </p:extLst>
          </p:nvPr>
        </p:nvGraphicFramePr>
        <p:xfrm>
          <a:off x="159026" y="4351232"/>
          <a:ext cx="5665304" cy="1753184"/>
        </p:xfrm>
        <a:graphic>
          <a:graphicData uri="http://schemas.openxmlformats.org/drawingml/2006/table">
            <a:tbl>
              <a:tblPr/>
              <a:tblGrid>
                <a:gridCol w="655983">
                  <a:extLst>
                    <a:ext uri="{9D8B030D-6E8A-4147-A177-3AD203B41FA5}">
                      <a16:colId xmlns:a16="http://schemas.microsoft.com/office/drawing/2014/main" val="3038054674"/>
                    </a:ext>
                  </a:extLst>
                </a:gridCol>
                <a:gridCol w="606287">
                  <a:extLst>
                    <a:ext uri="{9D8B030D-6E8A-4147-A177-3AD203B41FA5}">
                      <a16:colId xmlns:a16="http://schemas.microsoft.com/office/drawing/2014/main" val="92981738"/>
                    </a:ext>
                  </a:extLst>
                </a:gridCol>
                <a:gridCol w="2677277">
                  <a:extLst>
                    <a:ext uri="{9D8B030D-6E8A-4147-A177-3AD203B41FA5}">
                      <a16:colId xmlns:a16="http://schemas.microsoft.com/office/drawing/2014/main" val="4148595657"/>
                    </a:ext>
                  </a:extLst>
                </a:gridCol>
                <a:gridCol w="215010">
                  <a:extLst>
                    <a:ext uri="{9D8B030D-6E8A-4147-A177-3AD203B41FA5}">
                      <a16:colId xmlns:a16="http://schemas.microsoft.com/office/drawing/2014/main" val="1446920283"/>
                    </a:ext>
                  </a:extLst>
                </a:gridCol>
                <a:gridCol w="764704">
                  <a:extLst>
                    <a:ext uri="{9D8B030D-6E8A-4147-A177-3AD203B41FA5}">
                      <a16:colId xmlns:a16="http://schemas.microsoft.com/office/drawing/2014/main" val="1216711788"/>
                    </a:ext>
                  </a:extLst>
                </a:gridCol>
                <a:gridCol w="746043">
                  <a:extLst>
                    <a:ext uri="{9D8B030D-6E8A-4147-A177-3AD203B41FA5}">
                      <a16:colId xmlns:a16="http://schemas.microsoft.com/office/drawing/2014/main" val="2502724384"/>
                    </a:ext>
                  </a:extLst>
                </a:gridCol>
              </a:tblGrid>
              <a:tr h="350637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4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/02/N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531922"/>
                  </a:ext>
                </a:extLst>
              </a:tr>
              <a:tr h="701273"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nque (4544,10 – 2019,60 -712,80)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6830783"/>
                  </a:ext>
                </a:extLst>
              </a:tr>
              <a:tr h="350637"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	Client DIX-VINS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811,70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112954"/>
                  </a:ext>
                </a:extLst>
              </a:tr>
              <a:tr h="350637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lement du solde 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fr-F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680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8281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8537B233-9CDD-4A90-AABB-A8963DEE4F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517F6E-26E9-44E8-815E-774552D95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3400" y="818457"/>
            <a:ext cx="3322317" cy="2975876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br>
              <a:rPr lang="en-US" sz="3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31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C9EF324-339C-4E46-9508-BF0C86AA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1540" b="21540"/>
          <a:stretch/>
        </p:blipFill>
        <p:spPr>
          <a:xfrm>
            <a:off x="716280" y="2215808"/>
            <a:ext cx="5401937" cy="2036367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40575EE-C594-4566-BC00-663004E52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617861" y="1417320"/>
            <a:ext cx="0" cy="402336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AE196125-F657-4A8D-BF6F-9D35E2A19BAA}"/>
              </a:ext>
            </a:extLst>
          </p:cNvPr>
          <p:cNvSpPr txBox="1"/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61BA051E-0D20-4CC3-9958-C0CFDE297C40}"/>
              </a:ext>
            </a:extLst>
          </p:cNvPr>
          <p:cNvSpPr txBox="1"/>
          <p:nvPr/>
        </p:nvSpPr>
        <p:spPr>
          <a:xfrm>
            <a:off x="1179226" y="3092970"/>
            <a:ext cx="9833548" cy="26939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000000"/>
              </a:solidFill>
            </a:endParaRPr>
          </a:p>
        </p:txBody>
      </p:sp>
      <p:grpSp>
        <p:nvGrpSpPr>
          <p:cNvPr id="7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1C68EA-2299-4048-9768-29BE3CCCA72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0"/>
            <a:ext cx="344587" cy="542925"/>
            <a:chOff x="2585735" y="108789"/>
            <a:chExt cx="344587" cy="542925"/>
          </a:xfrm>
        </p:grpSpPr>
        <p:sp>
          <p:nvSpPr>
            <p:cNvPr id="8" name="Freeform: Shape 206">
              <a:extLst>
                <a:ext uri="{FF2B5EF4-FFF2-40B4-BE49-F238E27FC236}">
                  <a16:creationId xmlns:a16="http://schemas.microsoft.com/office/drawing/2014/main" id="{F1582718-4360-43D7-8A82-7C736EEF1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352">
              <a:extLst>
                <a:ext uri="{FF2B5EF4-FFF2-40B4-BE49-F238E27FC236}">
                  <a16:creationId xmlns:a16="http://schemas.microsoft.com/office/drawing/2014/main" id="{02E74E3F-674C-468C-B05E-B8BF34A8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353">
              <a:extLst>
                <a:ext uri="{FF2B5EF4-FFF2-40B4-BE49-F238E27FC236}">
                  <a16:creationId xmlns:a16="http://schemas.microsoft.com/office/drawing/2014/main" id="{DAD1C763-E31E-4212-98CA-65F48FEFF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DFEA2082-E7DE-4453-8158-54F380B94285}"/>
              </a:ext>
            </a:extLst>
          </p:cNvPr>
          <p:cNvSpPr txBox="1"/>
          <p:nvPr/>
        </p:nvSpPr>
        <p:spPr>
          <a:xfrm>
            <a:off x="8045042" y="1417320"/>
            <a:ext cx="36497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latin typeface="Arial" panose="020B0604020202020204" pitchFamily="34" charset="0"/>
                <a:cs typeface="Arial" panose="020B0604020202020204" pitchFamily="34" charset="0"/>
              </a:rPr>
              <a:t>Les amortissements</a:t>
            </a:r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88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7</TotalTime>
  <Words>3027</Words>
  <Application>Microsoft Office PowerPoint</Application>
  <PresentationFormat>Grand écran</PresentationFormat>
  <Paragraphs>781</Paragraphs>
  <Slides>58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8</vt:i4>
      </vt:variant>
    </vt:vector>
  </HeadingPairs>
  <TitlesOfParts>
    <vt:vector size="67" baseType="lpstr">
      <vt:lpstr>Arial</vt:lpstr>
      <vt:lpstr>Calibri</vt:lpstr>
      <vt:lpstr>Calibri Light</vt:lpstr>
      <vt:lpstr>Times New Roman</vt:lpstr>
      <vt:lpstr>Tw Cen MT</vt:lpstr>
      <vt:lpstr>Verdana</vt:lpstr>
      <vt:lpstr>Thème Office</vt:lpstr>
      <vt:lpstr>1_Thème Office</vt:lpstr>
      <vt:lpstr>Document</vt:lpstr>
      <vt:lpstr>Université de Montpellier </vt:lpstr>
      <vt:lpstr>Programme prévisionnel</vt:lpstr>
      <vt:lpstr> </vt:lpstr>
      <vt:lpstr>Cas RRR - enoncé</vt:lpstr>
      <vt:lpstr>Correction RRR 1</vt:lpstr>
      <vt:lpstr>RRR1 - Corrigé</vt:lpstr>
      <vt:lpstr>Chez ST LOUP                          Chez DIX VINS</vt:lpstr>
      <vt:lpstr>Présentation PowerPoint</vt:lpstr>
      <vt:lpstr> </vt:lpstr>
      <vt:lpstr>Principe - Amortissement</vt:lpstr>
      <vt:lpstr>Actif : contexte</vt:lpstr>
      <vt:lpstr>Actif : définition</vt:lpstr>
      <vt:lpstr>Actif : identifiable</vt:lpstr>
      <vt:lpstr>Actif : contrôle</vt:lpstr>
      <vt:lpstr>Actif : Avantage économique futur</vt:lpstr>
      <vt:lpstr>Immobilisation =&gt; élément de l’actif</vt:lpstr>
      <vt:lpstr>Immobilisation incorporelle</vt:lpstr>
      <vt:lpstr>Immobilisation corporelle</vt:lpstr>
      <vt:lpstr>Immobilisation financière</vt:lpstr>
      <vt:lpstr>Rappel – position fiscale</vt:lpstr>
      <vt:lpstr> </vt:lpstr>
      <vt:lpstr>Amortissement  =  perte de valeur irréversible</vt:lpstr>
      <vt:lpstr>Présentation PowerPoint</vt:lpstr>
      <vt:lpstr>Immobilisation amortissable</vt:lpstr>
      <vt:lpstr>Cout d’acquisition</vt:lpstr>
      <vt:lpstr>Le coût d’acquisition</vt:lpstr>
      <vt:lpstr>Frais accessoires à intégrer obligatoirement</vt:lpstr>
      <vt:lpstr>Frais accessoires à intégrer sur options</vt:lpstr>
      <vt:lpstr>Exemple A</vt:lpstr>
      <vt:lpstr>Exemple A</vt:lpstr>
      <vt:lpstr>Exemple</vt:lpstr>
      <vt:lpstr>Exemple B</vt:lpstr>
      <vt:lpstr>Exemple B</vt:lpstr>
      <vt:lpstr>Durée de vie du bien </vt:lpstr>
      <vt:lpstr>Catégories d’amortissement</vt:lpstr>
      <vt:lpstr>Catégories d’amortissement</vt:lpstr>
      <vt:lpstr>Vocabulaire</vt:lpstr>
      <vt:lpstr>La valeur nette comptable =&gt; VNC</vt:lpstr>
      <vt:lpstr>La valeur comptable des éléments actifs cédés=&gt; VCEAC</vt:lpstr>
      <vt:lpstr>Le taux d’amortissement</vt:lpstr>
      <vt:lpstr>La valeur résiduelle</vt:lpstr>
      <vt:lpstr>La valeur vénale</vt:lpstr>
      <vt:lpstr>Durée amortissement</vt:lpstr>
      <vt:lpstr>Taux linéaire</vt:lpstr>
      <vt:lpstr>Exemple</vt:lpstr>
      <vt:lpstr>Méthode</vt:lpstr>
      <vt:lpstr>Méthode</vt:lpstr>
      <vt:lpstr>Exemple 1</vt:lpstr>
      <vt:lpstr>Plan d’amortissement</vt:lpstr>
      <vt:lpstr>Exemple 2</vt:lpstr>
      <vt:lpstr>Plan d’amortissement</vt:lpstr>
      <vt:lpstr>Exemple 3</vt:lpstr>
      <vt:lpstr>Schéma</vt:lpstr>
      <vt:lpstr>Exemple 3</vt:lpstr>
      <vt:lpstr>Plan d’amortissement</vt:lpstr>
      <vt:lpstr> </vt:lpstr>
      <vt:lpstr>Présentation PowerPoint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on Février 2021 ATHENA SECURITE</dc:title>
  <dc:creator>christophe CHUECOS-FONT</dc:creator>
  <cp:lastModifiedBy>christophe CHUECOS-FONT</cp:lastModifiedBy>
  <cp:revision>5</cp:revision>
  <dcterms:created xsi:type="dcterms:W3CDTF">2021-02-02T18:32:53Z</dcterms:created>
  <dcterms:modified xsi:type="dcterms:W3CDTF">2021-04-09T13:47:16Z</dcterms:modified>
</cp:coreProperties>
</file>